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0"/>
  </p:notesMasterIdLst>
  <p:sldIdLst>
    <p:sldId id="258" r:id="rId2"/>
    <p:sldId id="569" r:id="rId3"/>
    <p:sldId id="1180" r:id="rId4"/>
    <p:sldId id="1183" r:id="rId5"/>
    <p:sldId id="581" r:id="rId6"/>
    <p:sldId id="1187" r:id="rId7"/>
    <p:sldId id="1182" r:id="rId8"/>
    <p:sldId id="1170" r:id="rId9"/>
    <p:sldId id="1153" r:id="rId10"/>
    <p:sldId id="1188" r:id="rId11"/>
    <p:sldId id="1176" r:id="rId12"/>
    <p:sldId id="592" r:id="rId13"/>
    <p:sldId id="593" r:id="rId14"/>
    <p:sldId id="1171" r:id="rId15"/>
    <p:sldId id="1190" r:id="rId16"/>
    <p:sldId id="605" r:id="rId17"/>
    <p:sldId id="584" r:id="rId18"/>
    <p:sldId id="1185" r:id="rId19"/>
    <p:sldId id="595" r:id="rId20"/>
    <p:sldId id="1151" r:id="rId21"/>
    <p:sldId id="1173" r:id="rId22"/>
    <p:sldId id="1186" r:id="rId23"/>
    <p:sldId id="1207" r:id="rId24"/>
    <p:sldId id="1208" r:id="rId25"/>
    <p:sldId id="1209" r:id="rId26"/>
    <p:sldId id="1210" r:id="rId27"/>
    <p:sldId id="1113" r:id="rId28"/>
    <p:sldId id="1149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DEB6718-7757-6ADC-A3AD-D6CED7D1689D}" name="Lisa Peters" initials="LP" userId="S::lipeters@aamc.org::a80af0da-d5a7-49f0-8169-6f6535408a56" providerId="AD"/>
  <p188:author id="{15DAFA39-FB3A-4129-AF99-62C556BAABC4}" name="Rebecca Fraser" initials="RF" userId="S::rfraser@aamc.org::9123f93c-48a5-4544-b1e6-a6f14b89185d" providerId="AD"/>
  <p188:author id="{FDA9786D-A8F6-774C-439C-0F5C6E7D229C}" name="Thomas Geiger" initials="TG" userId="S::tgeiger@aamc.org::d01b0518-9acb-4163-b0fc-4ca8e6abd43e" providerId="AD"/>
  <p188:author id="{8F29347E-72D3-B48F-B98D-9918E288F355}" name="Michelle Sparacino" initials="MS" userId="S::msparacino@aamc.org::1a439acf-3ad8-42ec-ba61-1c9414095a76" providerId="AD"/>
  <p188:author id="{29D4F7FF-8F1E-1892-E49E-D1C366BFB9FD}" name="Dana Pinchoff" initials="DP" userId="S::dpinchoff@aamc.org::8edb811d-8e52-4774-b555-da277d91126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9A6B1"/>
    <a:srgbClr val="87D1D9"/>
    <a:srgbClr val="E7E6E6"/>
    <a:srgbClr val="4DBBC6"/>
    <a:srgbClr val="CCFFCC"/>
    <a:srgbClr val="D60093"/>
    <a:srgbClr val="FF3399"/>
    <a:srgbClr val="00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9400" autoAdjust="0"/>
    <p:restoredTop sz="71875" autoAdjust="0"/>
  </p:normalViewPr>
  <p:slideViewPr>
    <p:cSldViewPr snapToGrid="0" snapToObjects="1">
      <p:cViewPr varScale="1">
        <p:scale>
          <a:sx n="61" d="100"/>
          <a:sy n="61" d="100"/>
        </p:scale>
        <p:origin x="55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7" d="100"/>
        <a:sy n="87" d="100"/>
      </p:scale>
      <p:origin x="0" y="-92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microsoft.com/office/2018/10/relationships/authors" Target="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022F1F7-B31E-456D-A897-6528EA61FD72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449857-7FF7-4F4C-8B3B-CBFDCC465E98}">
      <dgm:prSet phldrT="[Text]" custT="1"/>
      <dgm:spPr/>
      <dgm:t>
        <a:bodyPr/>
        <a:lstStyle/>
        <a:p>
          <a:r>
            <a:rPr lang="en-US" sz="3600" dirty="0"/>
            <a:t>Medical School Focused</a:t>
          </a:r>
        </a:p>
      </dgm:t>
    </dgm:pt>
    <dgm:pt modelId="{2E1CE046-F8B3-4E48-8707-AD46DDC1FEE4}" type="parTrans" cxnId="{C3355612-FE75-4578-A6B1-5F1BCF63FB2E}">
      <dgm:prSet/>
      <dgm:spPr/>
      <dgm:t>
        <a:bodyPr/>
        <a:lstStyle/>
        <a:p>
          <a:endParaRPr lang="en-US"/>
        </a:p>
      </dgm:t>
    </dgm:pt>
    <dgm:pt modelId="{BB116E8C-2713-47CD-859A-A4A359CB3930}" type="sibTrans" cxnId="{C3355612-FE75-4578-A6B1-5F1BCF63FB2E}">
      <dgm:prSet/>
      <dgm:spPr/>
      <dgm:t>
        <a:bodyPr/>
        <a:lstStyle/>
        <a:p>
          <a:endParaRPr lang="en-US"/>
        </a:p>
      </dgm:t>
    </dgm:pt>
    <dgm:pt modelId="{A09BA8F2-2B49-4423-AC5B-E7910A1E0723}">
      <dgm:prSet phldrT="[Text]" custT="1"/>
      <dgm:spPr>
        <a:solidFill>
          <a:srgbClr val="83CAAC">
            <a:alpha val="90000"/>
          </a:srgb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800" b="0" i="0" dirty="0">
              <a:solidFill>
                <a:srgbClr val="292929"/>
              </a:solidFill>
              <a:effectLst/>
              <a:latin typeface="robotoregular"/>
            </a:rPr>
            <a:t>Uses scenarios that students may encounter in              medical school. </a:t>
          </a:r>
          <a:endParaRPr lang="en-US" sz="1800" dirty="0"/>
        </a:p>
      </dgm:t>
    </dgm:pt>
    <dgm:pt modelId="{BED48B58-64CF-4CED-910C-210F937B7045}" type="parTrans" cxnId="{32AEF6FB-3AD9-4AE3-9592-9DE6CA2C1643}">
      <dgm:prSet/>
      <dgm:spPr/>
      <dgm:t>
        <a:bodyPr/>
        <a:lstStyle/>
        <a:p>
          <a:endParaRPr lang="en-US"/>
        </a:p>
      </dgm:t>
    </dgm:pt>
    <dgm:pt modelId="{DA7A4B8A-ACCA-4CFE-B731-4C8071D48DCF}" type="sibTrans" cxnId="{32AEF6FB-3AD9-4AE3-9592-9DE6CA2C1643}">
      <dgm:prSet/>
      <dgm:spPr/>
      <dgm:t>
        <a:bodyPr/>
        <a:lstStyle/>
        <a:p>
          <a:endParaRPr lang="en-US"/>
        </a:p>
      </dgm:t>
    </dgm:pt>
    <dgm:pt modelId="{2E2F88D0-299F-470A-9C5D-CB7C8C6BD7FC}">
      <dgm:prSet phldrT="[Text]" custT="1"/>
      <dgm:spPr/>
      <dgm:t>
        <a:bodyPr/>
        <a:lstStyle/>
        <a:p>
          <a:r>
            <a:rPr lang="en-US" sz="3600" b="0" i="0" dirty="0"/>
            <a:t>Convenient</a:t>
          </a:r>
          <a:endParaRPr lang="en-US" sz="4400" dirty="0"/>
        </a:p>
      </dgm:t>
    </dgm:pt>
    <dgm:pt modelId="{591221AE-295A-44AA-8B61-08C861383E8C}" type="parTrans" cxnId="{C48D7BC7-CD9D-4180-9055-08DA7B98ED8E}">
      <dgm:prSet/>
      <dgm:spPr/>
      <dgm:t>
        <a:bodyPr/>
        <a:lstStyle/>
        <a:p>
          <a:endParaRPr lang="en-US"/>
        </a:p>
      </dgm:t>
    </dgm:pt>
    <dgm:pt modelId="{D0B53AFC-CCEB-4434-8FA2-1DD6106DF16E}" type="sibTrans" cxnId="{C48D7BC7-CD9D-4180-9055-08DA7B98ED8E}">
      <dgm:prSet/>
      <dgm:spPr/>
      <dgm:t>
        <a:bodyPr/>
        <a:lstStyle/>
        <a:p>
          <a:endParaRPr lang="en-US"/>
        </a:p>
      </dgm:t>
    </dgm:pt>
    <dgm:pt modelId="{E1860F1A-0AA7-46BA-97DA-36B0798FEDF5}">
      <dgm:prSet phldrT="[Text]" custT="1"/>
      <dgm:spPr>
        <a:solidFill>
          <a:srgbClr val="83CAAC">
            <a:alpha val="90000"/>
          </a:srgb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800" b="0" i="0" dirty="0">
              <a:solidFill>
                <a:srgbClr val="292929"/>
              </a:solidFill>
              <a:effectLst/>
              <a:latin typeface="robotoregular"/>
            </a:rPr>
            <a:t>You complete the exam at a location of your choosing. </a:t>
          </a:r>
          <a:endParaRPr lang="en-US" sz="1800" dirty="0"/>
        </a:p>
      </dgm:t>
    </dgm:pt>
    <dgm:pt modelId="{3FA75EC2-E3F2-4FFE-A160-9A8DC27BAC9E}" type="parTrans" cxnId="{1E824B54-3D2F-40EC-A6C4-A239C9BD700D}">
      <dgm:prSet/>
      <dgm:spPr/>
      <dgm:t>
        <a:bodyPr/>
        <a:lstStyle/>
        <a:p>
          <a:endParaRPr lang="en-US"/>
        </a:p>
      </dgm:t>
    </dgm:pt>
    <dgm:pt modelId="{DB6E9D08-93E5-440C-9A4F-6B870F8D174B}" type="sibTrans" cxnId="{1E824B54-3D2F-40EC-A6C4-A239C9BD700D}">
      <dgm:prSet/>
      <dgm:spPr/>
      <dgm:t>
        <a:bodyPr/>
        <a:lstStyle/>
        <a:p>
          <a:endParaRPr lang="en-US"/>
        </a:p>
      </dgm:t>
    </dgm:pt>
    <dgm:pt modelId="{E2D9827E-DBEC-4BDA-A47A-AFE9B12C84F3}">
      <dgm:prSet phldrT="[Text]" custT="1"/>
      <dgm:spPr/>
      <dgm:t>
        <a:bodyPr/>
        <a:lstStyle/>
        <a:p>
          <a:r>
            <a:rPr lang="en-US" sz="3600" dirty="0"/>
            <a:t>Showcase Your Knowledge</a:t>
          </a:r>
        </a:p>
      </dgm:t>
    </dgm:pt>
    <dgm:pt modelId="{B47F5339-3D81-4810-A342-23C94FD56F82}" type="parTrans" cxnId="{D21EED6F-AE20-4B00-8944-4A1CC5F0FBED}">
      <dgm:prSet/>
      <dgm:spPr/>
      <dgm:t>
        <a:bodyPr/>
        <a:lstStyle/>
        <a:p>
          <a:endParaRPr lang="en-US"/>
        </a:p>
      </dgm:t>
    </dgm:pt>
    <dgm:pt modelId="{80CF7D2B-C420-4F9C-879C-4A63C3393148}" type="sibTrans" cxnId="{D21EED6F-AE20-4B00-8944-4A1CC5F0FBED}">
      <dgm:prSet/>
      <dgm:spPr/>
      <dgm:t>
        <a:bodyPr/>
        <a:lstStyle/>
        <a:p>
          <a:endParaRPr lang="en-US"/>
        </a:p>
      </dgm:t>
    </dgm:pt>
    <dgm:pt modelId="{850F8C04-635E-4883-9575-528723651582}">
      <dgm:prSet phldrT="[Text]" custT="1"/>
      <dgm:spPr>
        <a:solidFill>
          <a:srgbClr val="83CAAC">
            <a:alpha val="90000"/>
          </a:srgbClr>
        </a:solidFill>
      </dgm:spPr>
      <dgm:t>
        <a:bodyPr/>
        <a:lstStyle/>
        <a:p>
          <a:pPr algn="l">
            <a:buNone/>
          </a:pPr>
          <a:r>
            <a:rPr lang="en-US" sz="2000" dirty="0"/>
            <a:t>The AAMC PREview exam is an opportunity for you to showcase your knowledge of competencies that go beyond your academic readiness.</a:t>
          </a:r>
        </a:p>
      </dgm:t>
    </dgm:pt>
    <dgm:pt modelId="{AAD17C57-609B-46ED-AB79-3C8D96756A3D}" type="parTrans" cxnId="{73881E4F-0E35-4D97-9796-6CF9B5347C02}">
      <dgm:prSet/>
      <dgm:spPr/>
      <dgm:t>
        <a:bodyPr/>
        <a:lstStyle/>
        <a:p>
          <a:endParaRPr lang="en-US"/>
        </a:p>
      </dgm:t>
    </dgm:pt>
    <dgm:pt modelId="{5D5327F9-AD1D-4642-8D44-33B95DA7BF50}" type="sibTrans" cxnId="{73881E4F-0E35-4D97-9796-6CF9B5347C02}">
      <dgm:prSet/>
      <dgm:spPr/>
      <dgm:t>
        <a:bodyPr/>
        <a:lstStyle/>
        <a:p>
          <a:endParaRPr lang="en-US"/>
        </a:p>
      </dgm:t>
    </dgm:pt>
    <dgm:pt modelId="{A02A5D31-1DB4-4CAA-807F-9DEF278AD9D0}">
      <dgm:prSet phldrT="[Text]" custT="1"/>
      <dgm:spPr>
        <a:solidFill>
          <a:srgbClr val="83CAAC">
            <a:alpha val="90000"/>
          </a:srgb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800" b="0" i="0" dirty="0">
              <a:solidFill>
                <a:srgbClr val="292929"/>
              </a:solidFill>
              <a:effectLst/>
              <a:latin typeface="robotoregular"/>
            </a:rPr>
            <a:t>Scores are incorporated in your AMCAS application.</a:t>
          </a:r>
          <a:endParaRPr lang="en-US" sz="1800" dirty="0"/>
        </a:p>
      </dgm:t>
    </dgm:pt>
    <dgm:pt modelId="{23604D65-BA07-4034-B16B-EC2E21C738E1}" type="parTrans" cxnId="{52A3C299-93CB-4742-9121-C2A5FF232F06}">
      <dgm:prSet/>
      <dgm:spPr/>
      <dgm:t>
        <a:bodyPr/>
        <a:lstStyle/>
        <a:p>
          <a:endParaRPr lang="en-US"/>
        </a:p>
      </dgm:t>
    </dgm:pt>
    <dgm:pt modelId="{860655B7-A57D-4551-95BE-5A0BDCE83E60}" type="sibTrans" cxnId="{52A3C299-93CB-4742-9121-C2A5FF232F06}">
      <dgm:prSet/>
      <dgm:spPr/>
      <dgm:t>
        <a:bodyPr/>
        <a:lstStyle/>
        <a:p>
          <a:endParaRPr lang="en-US"/>
        </a:p>
      </dgm:t>
    </dgm:pt>
    <dgm:pt modelId="{7964C39D-A274-4590-8AFA-F97BEF4A770A}">
      <dgm:prSet phldrT="[Text]" custT="1"/>
      <dgm:spPr>
        <a:solidFill>
          <a:srgbClr val="83CAAC">
            <a:alpha val="90000"/>
          </a:srgb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800" b="0" i="0" dirty="0">
              <a:solidFill>
                <a:srgbClr val="292929"/>
              </a:solidFill>
              <a:effectLst/>
              <a:latin typeface="robotoregular"/>
            </a:rPr>
            <a:t>The exam takes approximately 75 minutes to complete.</a:t>
          </a:r>
          <a:endParaRPr lang="en-US" sz="1800" dirty="0"/>
        </a:p>
      </dgm:t>
    </dgm:pt>
    <dgm:pt modelId="{0ACBB60B-0D48-4D00-A874-DB09128B2841}" type="parTrans" cxnId="{5236606C-9FEF-4FCA-B0A4-324CC10E6951}">
      <dgm:prSet/>
      <dgm:spPr/>
      <dgm:t>
        <a:bodyPr/>
        <a:lstStyle/>
        <a:p>
          <a:endParaRPr lang="en-US"/>
        </a:p>
      </dgm:t>
    </dgm:pt>
    <dgm:pt modelId="{5B05BE31-90BD-4ECC-979E-3686DB1FC754}" type="sibTrans" cxnId="{5236606C-9FEF-4FCA-B0A4-324CC10E6951}">
      <dgm:prSet/>
      <dgm:spPr/>
      <dgm:t>
        <a:bodyPr/>
        <a:lstStyle/>
        <a:p>
          <a:endParaRPr lang="en-US"/>
        </a:p>
      </dgm:t>
    </dgm:pt>
    <dgm:pt modelId="{586ED1E2-DD54-4A46-836B-E950EF4E484E}">
      <dgm:prSet phldrT="[Text]" custT="1"/>
      <dgm:spPr>
        <a:solidFill>
          <a:srgbClr val="83CAAC">
            <a:alpha val="90000"/>
          </a:srgbClr>
        </a:solidFill>
      </dgm:spPr>
      <dgm:t>
        <a:bodyPr/>
        <a:lstStyle/>
        <a:p>
          <a:r>
            <a:rPr lang="en-US" sz="1800" b="0" i="0" dirty="0">
              <a:solidFill>
                <a:srgbClr val="292929"/>
              </a:solidFill>
              <a:effectLst/>
              <a:latin typeface="robotoregular"/>
            </a:rPr>
            <a:t>Developed in collaboration with educators throughout the medical school community.</a:t>
          </a:r>
          <a:endParaRPr lang="en-US" sz="1800" dirty="0"/>
        </a:p>
      </dgm:t>
    </dgm:pt>
    <dgm:pt modelId="{927E5A10-FF5D-4D88-8E59-C50C1EDC2B3B}" type="parTrans" cxnId="{E144B223-09F5-40DF-8D1C-2B0D77FCC4C3}">
      <dgm:prSet/>
      <dgm:spPr/>
      <dgm:t>
        <a:bodyPr/>
        <a:lstStyle/>
        <a:p>
          <a:endParaRPr lang="en-US"/>
        </a:p>
      </dgm:t>
    </dgm:pt>
    <dgm:pt modelId="{7A22447D-92B0-46B3-9B10-A728C449F5F4}" type="sibTrans" cxnId="{E144B223-09F5-40DF-8D1C-2B0D77FCC4C3}">
      <dgm:prSet/>
      <dgm:spPr/>
      <dgm:t>
        <a:bodyPr/>
        <a:lstStyle/>
        <a:p>
          <a:endParaRPr lang="en-US"/>
        </a:p>
      </dgm:t>
    </dgm:pt>
    <dgm:pt modelId="{8B794C25-46DC-4F11-8F8D-B15FC72DEB4C}" type="pres">
      <dgm:prSet presAssocID="{6022F1F7-B31E-456D-A897-6528EA61FD72}" presName="Name0" presStyleCnt="0">
        <dgm:presLayoutVars>
          <dgm:dir/>
          <dgm:animLvl val="lvl"/>
          <dgm:resizeHandles val="exact"/>
        </dgm:presLayoutVars>
      </dgm:prSet>
      <dgm:spPr/>
    </dgm:pt>
    <dgm:pt modelId="{76E81F20-28E4-4BE8-B9EC-22838347211B}" type="pres">
      <dgm:prSet presAssocID="{62449857-7FF7-4F4C-8B3B-CBFDCC465E98}" presName="linNode" presStyleCnt="0"/>
      <dgm:spPr/>
    </dgm:pt>
    <dgm:pt modelId="{7FE7A8AF-0FB0-4E8A-8CA6-9D3EA24653B5}" type="pres">
      <dgm:prSet presAssocID="{62449857-7FF7-4F4C-8B3B-CBFDCC465E98}" presName="parentText" presStyleLbl="node1" presStyleIdx="0" presStyleCnt="3">
        <dgm:presLayoutVars>
          <dgm:chMax val="1"/>
          <dgm:bulletEnabled val="1"/>
        </dgm:presLayoutVars>
      </dgm:prSet>
      <dgm:spPr>
        <a:prstGeom prst="rect">
          <a:avLst/>
        </a:prstGeom>
      </dgm:spPr>
    </dgm:pt>
    <dgm:pt modelId="{7DF07BBB-5988-4459-8B00-D3434C0238CF}" type="pres">
      <dgm:prSet presAssocID="{62449857-7FF7-4F4C-8B3B-CBFDCC465E98}" presName="descendantText" presStyleLbl="alignAccFollowNode1" presStyleIdx="0" presStyleCnt="3">
        <dgm:presLayoutVars>
          <dgm:bulletEnabled val="1"/>
        </dgm:presLayoutVars>
      </dgm:prSet>
      <dgm:spPr>
        <a:prstGeom prst="rect">
          <a:avLst/>
        </a:prstGeom>
      </dgm:spPr>
    </dgm:pt>
    <dgm:pt modelId="{900044D1-9E57-4776-A004-CED9B2E454D5}" type="pres">
      <dgm:prSet presAssocID="{BB116E8C-2713-47CD-859A-A4A359CB3930}" presName="sp" presStyleCnt="0"/>
      <dgm:spPr/>
    </dgm:pt>
    <dgm:pt modelId="{37DF6682-9EFD-47DE-BA92-2ED49A8AF7F8}" type="pres">
      <dgm:prSet presAssocID="{2E2F88D0-299F-470A-9C5D-CB7C8C6BD7FC}" presName="linNode" presStyleCnt="0"/>
      <dgm:spPr/>
    </dgm:pt>
    <dgm:pt modelId="{E4317673-C5B0-4FA4-A390-72AC0DA5522A}" type="pres">
      <dgm:prSet presAssocID="{2E2F88D0-299F-470A-9C5D-CB7C8C6BD7FC}" presName="parentText" presStyleLbl="node1" presStyleIdx="1" presStyleCnt="3">
        <dgm:presLayoutVars>
          <dgm:chMax val="1"/>
          <dgm:bulletEnabled val="1"/>
        </dgm:presLayoutVars>
      </dgm:prSet>
      <dgm:spPr>
        <a:prstGeom prst="rect">
          <a:avLst/>
        </a:prstGeom>
      </dgm:spPr>
    </dgm:pt>
    <dgm:pt modelId="{23D767CA-0316-436D-B282-BC056CAA67A7}" type="pres">
      <dgm:prSet presAssocID="{2E2F88D0-299F-470A-9C5D-CB7C8C6BD7FC}" presName="descendantText" presStyleLbl="alignAccFollowNode1" presStyleIdx="1" presStyleCnt="3">
        <dgm:presLayoutVars>
          <dgm:bulletEnabled val="1"/>
        </dgm:presLayoutVars>
      </dgm:prSet>
      <dgm:spPr>
        <a:prstGeom prst="rect">
          <a:avLst/>
        </a:prstGeom>
      </dgm:spPr>
    </dgm:pt>
    <dgm:pt modelId="{B2745F68-5427-49EB-8AAC-7AFE3B8E791E}" type="pres">
      <dgm:prSet presAssocID="{D0B53AFC-CCEB-4434-8FA2-1DD6106DF16E}" presName="sp" presStyleCnt="0"/>
      <dgm:spPr/>
    </dgm:pt>
    <dgm:pt modelId="{F4F9BF49-DEDE-4204-8071-730849D48770}" type="pres">
      <dgm:prSet presAssocID="{E2D9827E-DBEC-4BDA-A47A-AFE9B12C84F3}" presName="linNode" presStyleCnt="0"/>
      <dgm:spPr/>
    </dgm:pt>
    <dgm:pt modelId="{C555A524-F519-41A1-9DDA-E7F66984E9D2}" type="pres">
      <dgm:prSet presAssocID="{E2D9827E-DBEC-4BDA-A47A-AFE9B12C84F3}" presName="parentText" presStyleLbl="node1" presStyleIdx="2" presStyleCnt="3">
        <dgm:presLayoutVars>
          <dgm:chMax val="1"/>
          <dgm:bulletEnabled val="1"/>
        </dgm:presLayoutVars>
      </dgm:prSet>
      <dgm:spPr>
        <a:prstGeom prst="rect">
          <a:avLst/>
        </a:prstGeom>
      </dgm:spPr>
    </dgm:pt>
    <dgm:pt modelId="{63810719-7E31-4327-9926-F22478E3BFD7}" type="pres">
      <dgm:prSet presAssocID="{E2D9827E-DBEC-4BDA-A47A-AFE9B12C84F3}" presName="descendantText" presStyleLbl="alignAccFollowNode1" presStyleIdx="2" presStyleCnt="3">
        <dgm:presLayoutVars>
          <dgm:bulletEnabled val="1"/>
        </dgm:presLayoutVars>
      </dgm:prSet>
      <dgm:spPr>
        <a:prstGeom prst="rect">
          <a:avLst/>
        </a:prstGeom>
      </dgm:spPr>
    </dgm:pt>
  </dgm:ptLst>
  <dgm:cxnLst>
    <dgm:cxn modelId="{DAA8A909-5C5E-43BE-9EEE-054278F7CB21}" type="presOf" srcId="{850F8C04-635E-4883-9575-528723651582}" destId="{63810719-7E31-4327-9926-F22478E3BFD7}" srcOrd="0" destOrd="0" presId="urn:microsoft.com/office/officeart/2005/8/layout/vList5"/>
    <dgm:cxn modelId="{47A0010A-DB56-4B57-A6FD-B82E84A6D107}" type="presOf" srcId="{6022F1F7-B31E-456D-A897-6528EA61FD72}" destId="{8B794C25-46DC-4F11-8F8D-B15FC72DEB4C}" srcOrd="0" destOrd="0" presId="urn:microsoft.com/office/officeart/2005/8/layout/vList5"/>
    <dgm:cxn modelId="{C3355612-FE75-4578-A6B1-5F1BCF63FB2E}" srcId="{6022F1F7-B31E-456D-A897-6528EA61FD72}" destId="{62449857-7FF7-4F4C-8B3B-CBFDCC465E98}" srcOrd="0" destOrd="0" parTransId="{2E1CE046-F8B3-4E48-8707-AD46DDC1FEE4}" sibTransId="{BB116E8C-2713-47CD-859A-A4A359CB3930}"/>
    <dgm:cxn modelId="{A8540618-2088-4401-9B68-FAFD95B4A2C8}" type="presOf" srcId="{2E2F88D0-299F-470A-9C5D-CB7C8C6BD7FC}" destId="{E4317673-C5B0-4FA4-A390-72AC0DA5522A}" srcOrd="0" destOrd="0" presId="urn:microsoft.com/office/officeart/2005/8/layout/vList5"/>
    <dgm:cxn modelId="{E144B223-09F5-40DF-8D1C-2B0D77FCC4C3}" srcId="{62449857-7FF7-4F4C-8B3B-CBFDCC465E98}" destId="{586ED1E2-DD54-4A46-836B-E950EF4E484E}" srcOrd="0" destOrd="0" parTransId="{927E5A10-FF5D-4D88-8E59-C50C1EDC2B3B}" sibTransId="{7A22447D-92B0-46B3-9B10-A728C449F5F4}"/>
    <dgm:cxn modelId="{EB7CE924-A3C9-4049-A4A0-CBCC0BACE770}" type="presOf" srcId="{E2D9827E-DBEC-4BDA-A47A-AFE9B12C84F3}" destId="{C555A524-F519-41A1-9DDA-E7F66984E9D2}" srcOrd="0" destOrd="0" presId="urn:microsoft.com/office/officeart/2005/8/layout/vList5"/>
    <dgm:cxn modelId="{7CEFD95E-3FEE-4BBE-A6D8-C3B84A466928}" type="presOf" srcId="{62449857-7FF7-4F4C-8B3B-CBFDCC465E98}" destId="{7FE7A8AF-0FB0-4E8A-8CA6-9D3EA24653B5}" srcOrd="0" destOrd="0" presId="urn:microsoft.com/office/officeart/2005/8/layout/vList5"/>
    <dgm:cxn modelId="{9A496364-C6F7-43C7-BF62-555AA0449F73}" type="presOf" srcId="{E1860F1A-0AA7-46BA-97DA-36B0798FEDF5}" destId="{23D767CA-0316-436D-B282-BC056CAA67A7}" srcOrd="0" destOrd="0" presId="urn:microsoft.com/office/officeart/2005/8/layout/vList5"/>
    <dgm:cxn modelId="{5236606C-9FEF-4FCA-B0A4-324CC10E6951}" srcId="{2E2F88D0-299F-470A-9C5D-CB7C8C6BD7FC}" destId="{7964C39D-A274-4590-8AFA-F97BEF4A770A}" srcOrd="1" destOrd="0" parTransId="{0ACBB60B-0D48-4D00-A874-DB09128B2841}" sibTransId="{5B05BE31-90BD-4ECC-979E-3686DB1FC754}"/>
    <dgm:cxn modelId="{73881E4F-0E35-4D97-9796-6CF9B5347C02}" srcId="{E2D9827E-DBEC-4BDA-A47A-AFE9B12C84F3}" destId="{850F8C04-635E-4883-9575-528723651582}" srcOrd="0" destOrd="0" parTransId="{AAD17C57-609B-46ED-AB79-3C8D96756A3D}" sibTransId="{5D5327F9-AD1D-4642-8D44-33B95DA7BF50}"/>
    <dgm:cxn modelId="{D21EED6F-AE20-4B00-8944-4A1CC5F0FBED}" srcId="{6022F1F7-B31E-456D-A897-6528EA61FD72}" destId="{E2D9827E-DBEC-4BDA-A47A-AFE9B12C84F3}" srcOrd="2" destOrd="0" parTransId="{B47F5339-3D81-4810-A342-23C94FD56F82}" sibTransId="{80CF7D2B-C420-4F9C-879C-4A63C3393148}"/>
    <dgm:cxn modelId="{1E824B54-3D2F-40EC-A6C4-A239C9BD700D}" srcId="{2E2F88D0-299F-470A-9C5D-CB7C8C6BD7FC}" destId="{E1860F1A-0AA7-46BA-97DA-36B0798FEDF5}" srcOrd="0" destOrd="0" parTransId="{3FA75EC2-E3F2-4FFE-A160-9A8DC27BAC9E}" sibTransId="{DB6E9D08-93E5-440C-9A4F-6B870F8D174B}"/>
    <dgm:cxn modelId="{98705F98-A4A9-474B-BF58-E0A4996B9DBB}" type="presOf" srcId="{A02A5D31-1DB4-4CAA-807F-9DEF278AD9D0}" destId="{23D767CA-0316-436D-B282-BC056CAA67A7}" srcOrd="0" destOrd="2" presId="urn:microsoft.com/office/officeart/2005/8/layout/vList5"/>
    <dgm:cxn modelId="{52A3C299-93CB-4742-9121-C2A5FF232F06}" srcId="{2E2F88D0-299F-470A-9C5D-CB7C8C6BD7FC}" destId="{A02A5D31-1DB4-4CAA-807F-9DEF278AD9D0}" srcOrd="2" destOrd="0" parTransId="{23604D65-BA07-4034-B16B-EC2E21C738E1}" sibTransId="{860655B7-A57D-4551-95BE-5A0BDCE83E60}"/>
    <dgm:cxn modelId="{C48D7BC7-CD9D-4180-9055-08DA7B98ED8E}" srcId="{6022F1F7-B31E-456D-A897-6528EA61FD72}" destId="{2E2F88D0-299F-470A-9C5D-CB7C8C6BD7FC}" srcOrd="1" destOrd="0" parTransId="{591221AE-295A-44AA-8B61-08C861383E8C}" sibTransId="{D0B53AFC-CCEB-4434-8FA2-1DD6106DF16E}"/>
    <dgm:cxn modelId="{BC4963CC-7482-4FD4-BE79-5D87C59621AD}" type="presOf" srcId="{7964C39D-A274-4590-8AFA-F97BEF4A770A}" destId="{23D767CA-0316-436D-B282-BC056CAA67A7}" srcOrd="0" destOrd="1" presId="urn:microsoft.com/office/officeart/2005/8/layout/vList5"/>
    <dgm:cxn modelId="{32AEF6FB-3AD9-4AE3-9592-9DE6CA2C1643}" srcId="{62449857-7FF7-4F4C-8B3B-CBFDCC465E98}" destId="{A09BA8F2-2B49-4423-AC5B-E7910A1E0723}" srcOrd="1" destOrd="0" parTransId="{BED48B58-64CF-4CED-910C-210F937B7045}" sibTransId="{DA7A4B8A-ACCA-4CFE-B731-4C8071D48DCF}"/>
    <dgm:cxn modelId="{3FCA2DFD-3809-4F7A-8FE6-56B35DA85D69}" type="presOf" srcId="{586ED1E2-DD54-4A46-836B-E950EF4E484E}" destId="{7DF07BBB-5988-4459-8B00-D3434C0238CF}" srcOrd="0" destOrd="0" presId="urn:microsoft.com/office/officeart/2005/8/layout/vList5"/>
    <dgm:cxn modelId="{67C472FE-E005-4843-9518-BA0FBFF09845}" type="presOf" srcId="{A09BA8F2-2B49-4423-AC5B-E7910A1E0723}" destId="{7DF07BBB-5988-4459-8B00-D3434C0238CF}" srcOrd="0" destOrd="1" presId="urn:microsoft.com/office/officeart/2005/8/layout/vList5"/>
    <dgm:cxn modelId="{87A4F25B-B064-424A-8F38-771DB9514172}" type="presParOf" srcId="{8B794C25-46DC-4F11-8F8D-B15FC72DEB4C}" destId="{76E81F20-28E4-4BE8-B9EC-22838347211B}" srcOrd="0" destOrd="0" presId="urn:microsoft.com/office/officeart/2005/8/layout/vList5"/>
    <dgm:cxn modelId="{35ED25FF-3602-4FBE-96D0-9AEA212E7C6F}" type="presParOf" srcId="{76E81F20-28E4-4BE8-B9EC-22838347211B}" destId="{7FE7A8AF-0FB0-4E8A-8CA6-9D3EA24653B5}" srcOrd="0" destOrd="0" presId="urn:microsoft.com/office/officeart/2005/8/layout/vList5"/>
    <dgm:cxn modelId="{BE8F9DA5-A436-4CDC-8B73-654CB4CE31BC}" type="presParOf" srcId="{76E81F20-28E4-4BE8-B9EC-22838347211B}" destId="{7DF07BBB-5988-4459-8B00-D3434C0238CF}" srcOrd="1" destOrd="0" presId="urn:microsoft.com/office/officeart/2005/8/layout/vList5"/>
    <dgm:cxn modelId="{A73C4FC9-5E5D-49DF-9E52-057BF8B31082}" type="presParOf" srcId="{8B794C25-46DC-4F11-8F8D-B15FC72DEB4C}" destId="{900044D1-9E57-4776-A004-CED9B2E454D5}" srcOrd="1" destOrd="0" presId="urn:microsoft.com/office/officeart/2005/8/layout/vList5"/>
    <dgm:cxn modelId="{E615C9F1-4B17-4BA8-852B-F04E4323B130}" type="presParOf" srcId="{8B794C25-46DC-4F11-8F8D-B15FC72DEB4C}" destId="{37DF6682-9EFD-47DE-BA92-2ED49A8AF7F8}" srcOrd="2" destOrd="0" presId="urn:microsoft.com/office/officeart/2005/8/layout/vList5"/>
    <dgm:cxn modelId="{9BAD5917-31D0-4F24-9A2F-5086E33611FC}" type="presParOf" srcId="{37DF6682-9EFD-47DE-BA92-2ED49A8AF7F8}" destId="{E4317673-C5B0-4FA4-A390-72AC0DA5522A}" srcOrd="0" destOrd="0" presId="urn:microsoft.com/office/officeart/2005/8/layout/vList5"/>
    <dgm:cxn modelId="{9F066660-2A3F-4008-8F26-26BC9E9A313C}" type="presParOf" srcId="{37DF6682-9EFD-47DE-BA92-2ED49A8AF7F8}" destId="{23D767CA-0316-436D-B282-BC056CAA67A7}" srcOrd="1" destOrd="0" presId="urn:microsoft.com/office/officeart/2005/8/layout/vList5"/>
    <dgm:cxn modelId="{EA9ABE9E-AAE0-4170-AA7B-D9AB368A2E19}" type="presParOf" srcId="{8B794C25-46DC-4F11-8F8D-B15FC72DEB4C}" destId="{B2745F68-5427-49EB-8AAC-7AFE3B8E791E}" srcOrd="3" destOrd="0" presId="urn:microsoft.com/office/officeart/2005/8/layout/vList5"/>
    <dgm:cxn modelId="{889D0081-7D76-4A08-88ED-2998DDC80A75}" type="presParOf" srcId="{8B794C25-46DC-4F11-8F8D-B15FC72DEB4C}" destId="{F4F9BF49-DEDE-4204-8071-730849D48770}" srcOrd="4" destOrd="0" presId="urn:microsoft.com/office/officeart/2005/8/layout/vList5"/>
    <dgm:cxn modelId="{FD77280E-930A-463C-94E6-EB5A790465F0}" type="presParOf" srcId="{F4F9BF49-DEDE-4204-8071-730849D48770}" destId="{C555A524-F519-41A1-9DDA-E7F66984E9D2}" srcOrd="0" destOrd="0" presId="urn:microsoft.com/office/officeart/2005/8/layout/vList5"/>
    <dgm:cxn modelId="{1CE2AB3B-4C80-4629-B0C4-EF350E9F5106}" type="presParOf" srcId="{F4F9BF49-DEDE-4204-8071-730849D48770}" destId="{63810719-7E31-4327-9926-F22478E3BFD7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D082E63-8F11-4FB6-912C-5A35160DA22E}" type="doc">
      <dgm:prSet loTypeId="urn:microsoft.com/office/officeart/2005/8/layout/hList1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091832AA-40F7-447B-8076-4A13574854FE}">
      <dgm:prSet phldrT="[Text]" custT="1"/>
      <dgm:spPr/>
      <dgm:t>
        <a:bodyPr/>
        <a:lstStyle/>
        <a:p>
          <a:r>
            <a:rPr lang="en-US" sz="2800" dirty="0"/>
            <a:t>Technical</a:t>
          </a:r>
        </a:p>
      </dgm:t>
    </dgm:pt>
    <dgm:pt modelId="{998C0BF0-AD10-4545-A2BB-8E1177545F9B}" type="parTrans" cxnId="{E187650A-2418-40FD-90E1-833D5BA26D36}">
      <dgm:prSet/>
      <dgm:spPr/>
      <dgm:t>
        <a:bodyPr/>
        <a:lstStyle/>
        <a:p>
          <a:endParaRPr lang="en-US"/>
        </a:p>
      </dgm:t>
    </dgm:pt>
    <dgm:pt modelId="{EF3CE4D5-CD92-469D-ADE3-3D1473AB6E25}" type="sibTrans" cxnId="{E187650A-2418-40FD-90E1-833D5BA26D36}">
      <dgm:prSet/>
      <dgm:spPr/>
      <dgm:t>
        <a:bodyPr/>
        <a:lstStyle/>
        <a:p>
          <a:endParaRPr lang="en-US"/>
        </a:p>
      </dgm:t>
    </dgm:pt>
    <dgm:pt modelId="{C07DF3BB-2447-45AA-AD6C-2781BE117D80}">
      <dgm:prSet phldrT="[Text]" custT="1"/>
      <dgm:spPr/>
      <dgm:t>
        <a:bodyPr/>
        <a:lstStyle/>
        <a:p>
          <a:r>
            <a:rPr lang="en-US" sz="2800"/>
            <a:t>Microphone</a:t>
          </a:r>
          <a:endParaRPr lang="en-US" sz="2800" dirty="0"/>
        </a:p>
      </dgm:t>
    </dgm:pt>
    <dgm:pt modelId="{970B9AB0-0237-4AFB-9F29-ECFB6297A098}" type="parTrans" cxnId="{D858F30B-CDC8-49B2-A723-C641E7F54C54}">
      <dgm:prSet/>
      <dgm:spPr/>
      <dgm:t>
        <a:bodyPr/>
        <a:lstStyle/>
        <a:p>
          <a:endParaRPr lang="en-US"/>
        </a:p>
      </dgm:t>
    </dgm:pt>
    <dgm:pt modelId="{583C659B-0FD8-4EAC-8AFA-3E4A0EF121C8}" type="sibTrans" cxnId="{D858F30B-CDC8-49B2-A723-C641E7F54C54}">
      <dgm:prSet/>
      <dgm:spPr/>
      <dgm:t>
        <a:bodyPr/>
        <a:lstStyle/>
        <a:p>
          <a:endParaRPr lang="en-US"/>
        </a:p>
      </dgm:t>
    </dgm:pt>
    <dgm:pt modelId="{60C67DB7-D648-4D0B-A29E-FEB4EA0BD46C}">
      <dgm:prSet phldrT="[Text]" custT="1"/>
      <dgm:spPr>
        <a:solidFill>
          <a:srgbClr val="1BB7AC"/>
        </a:solidFill>
        <a:ln>
          <a:solidFill>
            <a:srgbClr val="1BB7AC"/>
          </a:solidFill>
        </a:ln>
      </dgm:spPr>
      <dgm:t>
        <a:bodyPr/>
        <a:lstStyle/>
        <a:p>
          <a:r>
            <a:rPr lang="en-US" sz="2800" dirty="0"/>
            <a:t>Workspace</a:t>
          </a:r>
        </a:p>
      </dgm:t>
    </dgm:pt>
    <dgm:pt modelId="{EA627A3B-684C-479C-94FF-7D6CF6E885DE}" type="parTrans" cxnId="{518205F4-0134-4F39-B3B4-397893469C7B}">
      <dgm:prSet/>
      <dgm:spPr/>
      <dgm:t>
        <a:bodyPr/>
        <a:lstStyle/>
        <a:p>
          <a:endParaRPr lang="en-US"/>
        </a:p>
      </dgm:t>
    </dgm:pt>
    <dgm:pt modelId="{7F34FFE3-E879-46F3-85A0-388D3A756E35}" type="sibTrans" cxnId="{518205F4-0134-4F39-B3B4-397893469C7B}">
      <dgm:prSet/>
      <dgm:spPr/>
      <dgm:t>
        <a:bodyPr/>
        <a:lstStyle/>
        <a:p>
          <a:endParaRPr lang="en-US"/>
        </a:p>
      </dgm:t>
    </dgm:pt>
    <dgm:pt modelId="{89E6B3A9-DFA6-40B8-9547-3D87271A34A7}">
      <dgm:prSet phldrT="[Text]" custT="1"/>
      <dgm:spPr>
        <a:solidFill>
          <a:srgbClr val="CCE6E3">
            <a:alpha val="89804"/>
          </a:srgbClr>
        </a:solidFill>
      </dgm:spPr>
      <dgm:t>
        <a:bodyPr/>
        <a:lstStyle/>
        <a:p>
          <a:r>
            <a:rPr lang="en-US" sz="2800"/>
            <a:t>Private room</a:t>
          </a:r>
          <a:endParaRPr lang="en-US" sz="2800" dirty="0"/>
        </a:p>
      </dgm:t>
    </dgm:pt>
    <dgm:pt modelId="{403DB1B9-AA53-4E73-BBDD-540079F046D4}" type="parTrans" cxnId="{75A78048-1740-449C-8AE6-222059CB6664}">
      <dgm:prSet/>
      <dgm:spPr/>
      <dgm:t>
        <a:bodyPr/>
        <a:lstStyle/>
        <a:p>
          <a:endParaRPr lang="en-US"/>
        </a:p>
      </dgm:t>
    </dgm:pt>
    <dgm:pt modelId="{273DA44D-A6B6-418D-8816-0250419FA154}" type="sibTrans" cxnId="{75A78048-1740-449C-8AE6-222059CB6664}">
      <dgm:prSet/>
      <dgm:spPr/>
      <dgm:t>
        <a:bodyPr/>
        <a:lstStyle/>
        <a:p>
          <a:endParaRPr lang="en-US"/>
        </a:p>
      </dgm:t>
    </dgm:pt>
    <dgm:pt modelId="{F5F1CF55-E4E6-4B08-A7E8-D22FB8F4E11E}">
      <dgm:prSet phldrT="[Text]" custT="1"/>
      <dgm:spPr>
        <a:solidFill>
          <a:schemeClr val="accent6"/>
        </a:solidFill>
        <a:ln>
          <a:solidFill>
            <a:schemeClr val="accent6"/>
          </a:solidFill>
        </a:ln>
      </dgm:spPr>
      <dgm:t>
        <a:bodyPr/>
        <a:lstStyle/>
        <a:p>
          <a:r>
            <a:rPr lang="en-US" sz="2800" dirty="0"/>
            <a:t>I.D.</a:t>
          </a:r>
        </a:p>
      </dgm:t>
    </dgm:pt>
    <dgm:pt modelId="{59899809-F6C8-4891-AA97-69AC1F2F8264}" type="parTrans" cxnId="{0A404716-9004-4479-8E73-6931AFE72B75}">
      <dgm:prSet/>
      <dgm:spPr/>
      <dgm:t>
        <a:bodyPr/>
        <a:lstStyle/>
        <a:p>
          <a:endParaRPr lang="en-US"/>
        </a:p>
      </dgm:t>
    </dgm:pt>
    <dgm:pt modelId="{B04D29CB-CBC0-435D-A8B2-62CCE3BE953E}" type="sibTrans" cxnId="{0A404716-9004-4479-8E73-6931AFE72B75}">
      <dgm:prSet/>
      <dgm:spPr/>
      <dgm:t>
        <a:bodyPr/>
        <a:lstStyle/>
        <a:p>
          <a:endParaRPr lang="en-US"/>
        </a:p>
      </dgm:t>
    </dgm:pt>
    <dgm:pt modelId="{63805A75-1894-49CB-89D6-84BEC05490A1}">
      <dgm:prSet phldrT="[Text]" custT="1"/>
      <dgm:spPr>
        <a:solidFill>
          <a:schemeClr val="accent6">
            <a:lumMod val="20000"/>
            <a:lumOff val="80000"/>
            <a:alpha val="90000"/>
          </a:schemeClr>
        </a:solidFill>
        <a:ln>
          <a:solidFill>
            <a:schemeClr val="accent6">
              <a:lumMod val="20000"/>
              <a:lumOff val="80000"/>
              <a:alpha val="90000"/>
            </a:schemeClr>
          </a:solidFill>
        </a:ln>
      </dgm:spPr>
      <dgm:t>
        <a:bodyPr/>
        <a:lstStyle/>
        <a:p>
          <a:r>
            <a:rPr lang="en-US" sz="2800" dirty="0"/>
            <a:t>Government-Issued</a:t>
          </a:r>
        </a:p>
      </dgm:t>
    </dgm:pt>
    <dgm:pt modelId="{6039DF27-591D-4A22-A7E6-51E31F099858}" type="parTrans" cxnId="{5507E723-7CAB-40E4-85CF-87773D499C3A}">
      <dgm:prSet/>
      <dgm:spPr/>
      <dgm:t>
        <a:bodyPr/>
        <a:lstStyle/>
        <a:p>
          <a:endParaRPr lang="en-US"/>
        </a:p>
      </dgm:t>
    </dgm:pt>
    <dgm:pt modelId="{B47FA618-A214-482E-8186-93C4A183A438}" type="sibTrans" cxnId="{5507E723-7CAB-40E4-85CF-87773D499C3A}">
      <dgm:prSet/>
      <dgm:spPr/>
      <dgm:t>
        <a:bodyPr/>
        <a:lstStyle/>
        <a:p>
          <a:endParaRPr lang="en-US"/>
        </a:p>
      </dgm:t>
    </dgm:pt>
    <dgm:pt modelId="{7C07D7D9-CD68-458A-BEE4-1BD86D28F973}">
      <dgm:prSet custT="1"/>
      <dgm:spPr/>
      <dgm:t>
        <a:bodyPr/>
        <a:lstStyle/>
        <a:p>
          <a:r>
            <a:rPr lang="en-US" sz="2800"/>
            <a:t>Video Camera</a:t>
          </a:r>
          <a:endParaRPr lang="en-US" sz="2800" dirty="0"/>
        </a:p>
      </dgm:t>
    </dgm:pt>
    <dgm:pt modelId="{8B20889A-4874-4903-A57A-1274D170DCAB}" type="parTrans" cxnId="{BB2FD89E-9D5F-4BD9-97EA-BDA8D8069C1B}">
      <dgm:prSet/>
      <dgm:spPr/>
      <dgm:t>
        <a:bodyPr/>
        <a:lstStyle/>
        <a:p>
          <a:endParaRPr lang="en-US"/>
        </a:p>
      </dgm:t>
    </dgm:pt>
    <dgm:pt modelId="{9D69B272-A8AA-4E87-93D0-50D6252ADBFC}" type="sibTrans" cxnId="{BB2FD89E-9D5F-4BD9-97EA-BDA8D8069C1B}">
      <dgm:prSet/>
      <dgm:spPr/>
      <dgm:t>
        <a:bodyPr/>
        <a:lstStyle/>
        <a:p>
          <a:endParaRPr lang="en-US"/>
        </a:p>
      </dgm:t>
    </dgm:pt>
    <dgm:pt modelId="{016E9071-76ED-449A-8EEF-F8FB7D1E22BC}">
      <dgm:prSet custT="1"/>
      <dgm:spPr/>
      <dgm:t>
        <a:bodyPr/>
        <a:lstStyle/>
        <a:p>
          <a:r>
            <a:rPr lang="en-US" sz="2800"/>
            <a:t>Browser</a:t>
          </a:r>
          <a:endParaRPr lang="en-US" sz="2800" dirty="0"/>
        </a:p>
      </dgm:t>
    </dgm:pt>
    <dgm:pt modelId="{D1199F0B-A23A-4DE6-A522-12326067AEA8}" type="parTrans" cxnId="{370D769F-548B-4F73-A9D3-674F8CC30BA8}">
      <dgm:prSet/>
      <dgm:spPr/>
      <dgm:t>
        <a:bodyPr/>
        <a:lstStyle/>
        <a:p>
          <a:endParaRPr lang="en-US"/>
        </a:p>
      </dgm:t>
    </dgm:pt>
    <dgm:pt modelId="{8971029E-693B-411B-B148-FF8FBA0D0532}" type="sibTrans" cxnId="{370D769F-548B-4F73-A9D3-674F8CC30BA8}">
      <dgm:prSet/>
      <dgm:spPr/>
      <dgm:t>
        <a:bodyPr/>
        <a:lstStyle/>
        <a:p>
          <a:endParaRPr lang="en-US"/>
        </a:p>
      </dgm:t>
    </dgm:pt>
    <dgm:pt modelId="{09A22903-FBF9-406C-A8F0-5D139BEC8D16}">
      <dgm:prSet custT="1"/>
      <dgm:spPr/>
      <dgm:t>
        <a:bodyPr/>
        <a:lstStyle/>
        <a:p>
          <a:r>
            <a:rPr lang="en-US" sz="2800"/>
            <a:t>ProctorU Extension</a:t>
          </a:r>
          <a:endParaRPr lang="en-US" sz="2800" dirty="0"/>
        </a:p>
      </dgm:t>
    </dgm:pt>
    <dgm:pt modelId="{C1993F29-D771-422E-9FDF-A7A974C2383E}" type="parTrans" cxnId="{1AB1511E-90AE-4180-AEA0-D2B54CCFB362}">
      <dgm:prSet/>
      <dgm:spPr/>
      <dgm:t>
        <a:bodyPr/>
        <a:lstStyle/>
        <a:p>
          <a:endParaRPr lang="en-US"/>
        </a:p>
      </dgm:t>
    </dgm:pt>
    <dgm:pt modelId="{FC91EF4F-9BC5-4A68-A91D-E77CE09AECE7}" type="sibTrans" cxnId="{1AB1511E-90AE-4180-AEA0-D2B54CCFB362}">
      <dgm:prSet/>
      <dgm:spPr/>
      <dgm:t>
        <a:bodyPr/>
        <a:lstStyle/>
        <a:p>
          <a:endParaRPr lang="en-US"/>
        </a:p>
      </dgm:t>
    </dgm:pt>
    <dgm:pt modelId="{6BF1C937-0B1B-4E6D-A33B-67F9CB05EAA1}">
      <dgm:prSet custT="1"/>
      <dgm:spPr>
        <a:solidFill>
          <a:srgbClr val="CCE6E3">
            <a:alpha val="89804"/>
          </a:srgbClr>
        </a:solidFill>
      </dgm:spPr>
      <dgm:t>
        <a:bodyPr/>
        <a:lstStyle/>
        <a:p>
          <a:r>
            <a:rPr lang="en-US" sz="2800" dirty="0"/>
            <a:t>Well-lit</a:t>
          </a:r>
        </a:p>
      </dgm:t>
    </dgm:pt>
    <dgm:pt modelId="{B8930035-FBC2-43CC-AED0-6EE35EA56909}" type="parTrans" cxnId="{5534CC3D-D585-4B01-85D8-C752F5C03A0B}">
      <dgm:prSet/>
      <dgm:spPr/>
      <dgm:t>
        <a:bodyPr/>
        <a:lstStyle/>
        <a:p>
          <a:endParaRPr lang="en-US"/>
        </a:p>
      </dgm:t>
    </dgm:pt>
    <dgm:pt modelId="{FD8D88C2-C25D-44D5-8DA2-19E2DB644940}" type="sibTrans" cxnId="{5534CC3D-D585-4B01-85D8-C752F5C03A0B}">
      <dgm:prSet/>
      <dgm:spPr/>
      <dgm:t>
        <a:bodyPr/>
        <a:lstStyle/>
        <a:p>
          <a:endParaRPr lang="en-US"/>
        </a:p>
      </dgm:t>
    </dgm:pt>
    <dgm:pt modelId="{FEF114F9-B25B-438A-A691-027A39AFDE29}">
      <dgm:prSet custT="1"/>
      <dgm:spPr>
        <a:solidFill>
          <a:srgbClr val="CCE6E3">
            <a:alpha val="89804"/>
          </a:srgbClr>
        </a:solidFill>
      </dgm:spPr>
      <dgm:t>
        <a:bodyPr/>
        <a:lstStyle/>
        <a:p>
          <a:r>
            <a:rPr lang="en-US" sz="2800"/>
            <a:t>Clear space</a:t>
          </a:r>
          <a:endParaRPr lang="en-US" sz="2800" dirty="0"/>
        </a:p>
      </dgm:t>
    </dgm:pt>
    <dgm:pt modelId="{DF049760-4356-4B47-9165-230751238FF5}" type="parTrans" cxnId="{46F7201D-5770-4129-A559-59D0FAF2823D}">
      <dgm:prSet/>
      <dgm:spPr/>
      <dgm:t>
        <a:bodyPr/>
        <a:lstStyle/>
        <a:p>
          <a:endParaRPr lang="en-US"/>
        </a:p>
      </dgm:t>
    </dgm:pt>
    <dgm:pt modelId="{0B765842-1B69-45E2-9DC1-C451D1C63439}" type="sibTrans" cxnId="{46F7201D-5770-4129-A559-59D0FAF2823D}">
      <dgm:prSet/>
      <dgm:spPr/>
      <dgm:t>
        <a:bodyPr/>
        <a:lstStyle/>
        <a:p>
          <a:endParaRPr lang="en-US"/>
        </a:p>
      </dgm:t>
    </dgm:pt>
    <dgm:pt modelId="{CC626628-7176-47FA-8408-35EA8D2789A0}">
      <dgm:prSet custT="1"/>
      <dgm:spPr>
        <a:solidFill>
          <a:srgbClr val="CCE6E3">
            <a:alpha val="89804"/>
          </a:srgbClr>
        </a:solidFill>
      </dgm:spPr>
      <dgm:t>
        <a:bodyPr/>
        <a:lstStyle/>
        <a:p>
          <a:r>
            <a:rPr lang="en-US" sz="2800"/>
            <a:t>Single monitor</a:t>
          </a:r>
          <a:endParaRPr lang="en-US" sz="2800" dirty="0"/>
        </a:p>
      </dgm:t>
    </dgm:pt>
    <dgm:pt modelId="{D7000618-308D-4387-939A-99191A7CD4D0}" type="parTrans" cxnId="{0D3BB314-62BE-447A-9AED-6812A392CC83}">
      <dgm:prSet/>
      <dgm:spPr/>
      <dgm:t>
        <a:bodyPr/>
        <a:lstStyle/>
        <a:p>
          <a:endParaRPr lang="en-US"/>
        </a:p>
      </dgm:t>
    </dgm:pt>
    <dgm:pt modelId="{2181193C-EF74-4D62-9F41-92F7D55AADF4}" type="sibTrans" cxnId="{0D3BB314-62BE-447A-9AED-6812A392CC83}">
      <dgm:prSet/>
      <dgm:spPr/>
      <dgm:t>
        <a:bodyPr/>
        <a:lstStyle/>
        <a:p>
          <a:endParaRPr lang="en-US"/>
        </a:p>
      </dgm:t>
    </dgm:pt>
    <dgm:pt modelId="{7E5FFDF1-07CD-4690-9873-2BF44A0C914B}">
      <dgm:prSet custT="1"/>
      <dgm:spPr>
        <a:solidFill>
          <a:schemeClr val="accent6">
            <a:lumMod val="20000"/>
            <a:lumOff val="80000"/>
            <a:alpha val="90000"/>
          </a:schemeClr>
        </a:solidFill>
        <a:ln>
          <a:solidFill>
            <a:schemeClr val="accent6">
              <a:lumMod val="20000"/>
              <a:lumOff val="80000"/>
              <a:alpha val="90000"/>
            </a:schemeClr>
          </a:solidFill>
        </a:ln>
      </dgm:spPr>
      <dgm:t>
        <a:bodyPr/>
        <a:lstStyle/>
        <a:p>
          <a:r>
            <a:rPr lang="en-US" sz="2800" dirty="0"/>
            <a:t>Signature</a:t>
          </a:r>
        </a:p>
      </dgm:t>
    </dgm:pt>
    <dgm:pt modelId="{F7BDC41C-83A0-4A7C-A54D-B7C0F7EEBE0F}" type="parTrans" cxnId="{F971C648-379F-47FA-A62B-E14E213C78C4}">
      <dgm:prSet/>
      <dgm:spPr/>
      <dgm:t>
        <a:bodyPr/>
        <a:lstStyle/>
        <a:p>
          <a:endParaRPr lang="en-US"/>
        </a:p>
      </dgm:t>
    </dgm:pt>
    <dgm:pt modelId="{82DE0B53-028E-4766-8EB1-578D5D75780C}" type="sibTrans" cxnId="{F971C648-379F-47FA-A62B-E14E213C78C4}">
      <dgm:prSet/>
      <dgm:spPr/>
      <dgm:t>
        <a:bodyPr/>
        <a:lstStyle/>
        <a:p>
          <a:endParaRPr lang="en-US"/>
        </a:p>
      </dgm:t>
    </dgm:pt>
    <dgm:pt modelId="{FED484CF-CAFD-42A6-B03C-F56E60314283}">
      <dgm:prSet custT="1"/>
      <dgm:spPr>
        <a:solidFill>
          <a:schemeClr val="accent6">
            <a:lumMod val="20000"/>
            <a:lumOff val="80000"/>
            <a:alpha val="90000"/>
          </a:schemeClr>
        </a:solidFill>
        <a:ln>
          <a:solidFill>
            <a:schemeClr val="accent6">
              <a:lumMod val="20000"/>
              <a:lumOff val="80000"/>
              <a:alpha val="90000"/>
            </a:schemeClr>
          </a:solidFill>
        </a:ln>
      </dgm:spPr>
      <dgm:t>
        <a:bodyPr/>
        <a:lstStyle/>
        <a:p>
          <a:r>
            <a:rPr lang="en-US" sz="2800" dirty="0"/>
            <a:t>Photo</a:t>
          </a:r>
        </a:p>
      </dgm:t>
    </dgm:pt>
    <dgm:pt modelId="{6E435F5A-62AD-47AA-AEFA-E429BD29E82E}" type="parTrans" cxnId="{22BECE39-4343-4C45-9DA5-4E14995B9A0E}">
      <dgm:prSet/>
      <dgm:spPr/>
      <dgm:t>
        <a:bodyPr/>
        <a:lstStyle/>
        <a:p>
          <a:endParaRPr lang="en-US"/>
        </a:p>
      </dgm:t>
    </dgm:pt>
    <dgm:pt modelId="{121A0B00-F915-4456-BA8D-71D97154204A}" type="sibTrans" cxnId="{22BECE39-4343-4C45-9DA5-4E14995B9A0E}">
      <dgm:prSet/>
      <dgm:spPr/>
      <dgm:t>
        <a:bodyPr/>
        <a:lstStyle/>
        <a:p>
          <a:endParaRPr lang="en-US"/>
        </a:p>
      </dgm:t>
    </dgm:pt>
    <dgm:pt modelId="{36AFBF3F-66B6-4FCE-9F1C-7047A9900F91}">
      <dgm:prSet custT="1"/>
      <dgm:spPr>
        <a:solidFill>
          <a:schemeClr val="accent6">
            <a:lumMod val="20000"/>
            <a:lumOff val="80000"/>
            <a:alpha val="90000"/>
          </a:schemeClr>
        </a:solidFill>
        <a:ln>
          <a:solidFill>
            <a:schemeClr val="accent6">
              <a:lumMod val="20000"/>
              <a:lumOff val="80000"/>
              <a:alpha val="90000"/>
            </a:schemeClr>
          </a:solidFill>
        </a:ln>
      </dgm:spPr>
      <dgm:t>
        <a:bodyPr/>
        <a:lstStyle/>
        <a:p>
          <a:r>
            <a:rPr lang="en-US" sz="2800" dirty="0"/>
            <a:t>Expiration Date</a:t>
          </a:r>
        </a:p>
      </dgm:t>
    </dgm:pt>
    <dgm:pt modelId="{06E8631D-D3DE-41B1-B45B-30DF574D9871}" type="parTrans" cxnId="{B231E2CD-7922-421C-B870-A51890BC2AC1}">
      <dgm:prSet/>
      <dgm:spPr/>
      <dgm:t>
        <a:bodyPr/>
        <a:lstStyle/>
        <a:p>
          <a:endParaRPr lang="en-US"/>
        </a:p>
      </dgm:t>
    </dgm:pt>
    <dgm:pt modelId="{5FB00D81-85AD-4092-BBED-0B68A74B35AA}" type="sibTrans" cxnId="{B231E2CD-7922-421C-B870-A51890BC2AC1}">
      <dgm:prSet/>
      <dgm:spPr/>
      <dgm:t>
        <a:bodyPr/>
        <a:lstStyle/>
        <a:p>
          <a:endParaRPr lang="en-US"/>
        </a:p>
      </dgm:t>
    </dgm:pt>
    <dgm:pt modelId="{4671E395-9965-4E10-9406-5920CF6A6F68}" type="pres">
      <dgm:prSet presAssocID="{6D082E63-8F11-4FB6-912C-5A35160DA22E}" presName="Name0" presStyleCnt="0">
        <dgm:presLayoutVars>
          <dgm:dir/>
          <dgm:animLvl val="lvl"/>
          <dgm:resizeHandles val="exact"/>
        </dgm:presLayoutVars>
      </dgm:prSet>
      <dgm:spPr/>
    </dgm:pt>
    <dgm:pt modelId="{67808638-9970-415B-BFB6-CAA94FD4DBDA}" type="pres">
      <dgm:prSet presAssocID="{091832AA-40F7-447B-8076-4A13574854FE}" presName="composite" presStyleCnt="0"/>
      <dgm:spPr/>
    </dgm:pt>
    <dgm:pt modelId="{C13E4140-296A-464E-8EE9-D3E38DE31688}" type="pres">
      <dgm:prSet presAssocID="{091832AA-40F7-447B-8076-4A13574854FE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7621D7EC-8E91-4664-AA41-7F5C1D3589B3}" type="pres">
      <dgm:prSet presAssocID="{091832AA-40F7-447B-8076-4A13574854FE}" presName="desTx" presStyleLbl="alignAccFollowNode1" presStyleIdx="0" presStyleCnt="3">
        <dgm:presLayoutVars>
          <dgm:bulletEnabled val="1"/>
        </dgm:presLayoutVars>
      </dgm:prSet>
      <dgm:spPr/>
    </dgm:pt>
    <dgm:pt modelId="{B075D7B2-A770-402E-B90F-4C2293D8313B}" type="pres">
      <dgm:prSet presAssocID="{EF3CE4D5-CD92-469D-ADE3-3D1473AB6E25}" presName="space" presStyleCnt="0"/>
      <dgm:spPr/>
    </dgm:pt>
    <dgm:pt modelId="{C5793774-5BBA-4FD9-BB2E-B1474251B83A}" type="pres">
      <dgm:prSet presAssocID="{60C67DB7-D648-4D0B-A29E-FEB4EA0BD46C}" presName="composite" presStyleCnt="0"/>
      <dgm:spPr/>
    </dgm:pt>
    <dgm:pt modelId="{AA4904D6-3127-455E-AD70-BA6DAC6E2317}" type="pres">
      <dgm:prSet presAssocID="{60C67DB7-D648-4D0B-A29E-FEB4EA0BD46C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77062D2B-27B4-49E8-BC9E-26F6EDFBC16A}" type="pres">
      <dgm:prSet presAssocID="{60C67DB7-D648-4D0B-A29E-FEB4EA0BD46C}" presName="desTx" presStyleLbl="alignAccFollowNode1" presStyleIdx="1" presStyleCnt="3">
        <dgm:presLayoutVars>
          <dgm:bulletEnabled val="1"/>
        </dgm:presLayoutVars>
      </dgm:prSet>
      <dgm:spPr/>
    </dgm:pt>
    <dgm:pt modelId="{01C84D51-5DFF-4C62-9ECA-B8238208E77B}" type="pres">
      <dgm:prSet presAssocID="{7F34FFE3-E879-46F3-85A0-388D3A756E35}" presName="space" presStyleCnt="0"/>
      <dgm:spPr/>
    </dgm:pt>
    <dgm:pt modelId="{E6415D35-030A-4990-A766-8379BD93DDC2}" type="pres">
      <dgm:prSet presAssocID="{F5F1CF55-E4E6-4B08-A7E8-D22FB8F4E11E}" presName="composite" presStyleCnt="0"/>
      <dgm:spPr/>
    </dgm:pt>
    <dgm:pt modelId="{E9743C24-E2F1-4E7E-9299-129B6C30A681}" type="pres">
      <dgm:prSet presAssocID="{F5F1CF55-E4E6-4B08-A7E8-D22FB8F4E11E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CC26AD0D-8254-4830-9806-447EDDE70C7D}" type="pres">
      <dgm:prSet presAssocID="{F5F1CF55-E4E6-4B08-A7E8-D22FB8F4E11E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E187650A-2418-40FD-90E1-833D5BA26D36}" srcId="{6D082E63-8F11-4FB6-912C-5A35160DA22E}" destId="{091832AA-40F7-447B-8076-4A13574854FE}" srcOrd="0" destOrd="0" parTransId="{998C0BF0-AD10-4545-A2BB-8E1177545F9B}" sibTransId="{EF3CE4D5-CD92-469D-ADE3-3D1473AB6E25}"/>
    <dgm:cxn modelId="{D858F30B-CDC8-49B2-A723-C641E7F54C54}" srcId="{091832AA-40F7-447B-8076-4A13574854FE}" destId="{C07DF3BB-2447-45AA-AD6C-2781BE117D80}" srcOrd="0" destOrd="0" parTransId="{970B9AB0-0237-4AFB-9F29-ECFB6297A098}" sibTransId="{583C659B-0FD8-4EAC-8AFA-3E4A0EF121C8}"/>
    <dgm:cxn modelId="{76CA5A0D-7A9B-4651-9D1A-1502525FB569}" type="presOf" srcId="{63805A75-1894-49CB-89D6-84BEC05490A1}" destId="{CC26AD0D-8254-4830-9806-447EDDE70C7D}" srcOrd="0" destOrd="0" presId="urn:microsoft.com/office/officeart/2005/8/layout/hList1"/>
    <dgm:cxn modelId="{4656880E-8E5F-4395-A8BE-3A192A7C559A}" type="presOf" srcId="{6D082E63-8F11-4FB6-912C-5A35160DA22E}" destId="{4671E395-9965-4E10-9406-5920CF6A6F68}" srcOrd="0" destOrd="0" presId="urn:microsoft.com/office/officeart/2005/8/layout/hList1"/>
    <dgm:cxn modelId="{84F5C80E-E2CA-48E3-A2C8-C05D02D13EB4}" type="presOf" srcId="{CC626628-7176-47FA-8408-35EA8D2789A0}" destId="{77062D2B-27B4-49E8-BC9E-26F6EDFBC16A}" srcOrd="0" destOrd="3" presId="urn:microsoft.com/office/officeart/2005/8/layout/hList1"/>
    <dgm:cxn modelId="{21CB1911-6E17-4C91-84C0-E1CE5B761E55}" type="presOf" srcId="{016E9071-76ED-449A-8EEF-F8FB7D1E22BC}" destId="{7621D7EC-8E91-4664-AA41-7F5C1D3589B3}" srcOrd="0" destOrd="2" presId="urn:microsoft.com/office/officeart/2005/8/layout/hList1"/>
    <dgm:cxn modelId="{0D3BB314-62BE-447A-9AED-6812A392CC83}" srcId="{60C67DB7-D648-4D0B-A29E-FEB4EA0BD46C}" destId="{CC626628-7176-47FA-8408-35EA8D2789A0}" srcOrd="3" destOrd="0" parTransId="{D7000618-308D-4387-939A-99191A7CD4D0}" sibTransId="{2181193C-EF74-4D62-9F41-92F7D55AADF4}"/>
    <dgm:cxn modelId="{0A404716-9004-4479-8E73-6931AFE72B75}" srcId="{6D082E63-8F11-4FB6-912C-5A35160DA22E}" destId="{F5F1CF55-E4E6-4B08-A7E8-D22FB8F4E11E}" srcOrd="2" destOrd="0" parTransId="{59899809-F6C8-4891-AA97-69AC1F2F8264}" sibTransId="{B04D29CB-CBC0-435D-A8B2-62CCE3BE953E}"/>
    <dgm:cxn modelId="{46F7201D-5770-4129-A559-59D0FAF2823D}" srcId="{60C67DB7-D648-4D0B-A29E-FEB4EA0BD46C}" destId="{FEF114F9-B25B-438A-A691-027A39AFDE29}" srcOrd="2" destOrd="0" parTransId="{DF049760-4356-4B47-9165-230751238FF5}" sibTransId="{0B765842-1B69-45E2-9DC1-C451D1C63439}"/>
    <dgm:cxn modelId="{1AB1511E-90AE-4180-AEA0-D2B54CCFB362}" srcId="{091832AA-40F7-447B-8076-4A13574854FE}" destId="{09A22903-FBF9-406C-A8F0-5D139BEC8D16}" srcOrd="3" destOrd="0" parTransId="{C1993F29-D771-422E-9FDF-A7A974C2383E}" sibTransId="{FC91EF4F-9BC5-4A68-A91D-E77CE09AECE7}"/>
    <dgm:cxn modelId="{5507E723-7CAB-40E4-85CF-87773D499C3A}" srcId="{F5F1CF55-E4E6-4B08-A7E8-D22FB8F4E11E}" destId="{63805A75-1894-49CB-89D6-84BEC05490A1}" srcOrd="0" destOrd="0" parTransId="{6039DF27-591D-4A22-A7E6-51E31F099858}" sibTransId="{B47FA618-A214-482E-8186-93C4A183A438}"/>
    <dgm:cxn modelId="{1A135A29-F04E-4ED9-8752-26E25D426213}" type="presOf" srcId="{C07DF3BB-2447-45AA-AD6C-2781BE117D80}" destId="{7621D7EC-8E91-4664-AA41-7F5C1D3589B3}" srcOrd="0" destOrd="0" presId="urn:microsoft.com/office/officeart/2005/8/layout/hList1"/>
    <dgm:cxn modelId="{22BECE39-4343-4C45-9DA5-4E14995B9A0E}" srcId="{F5F1CF55-E4E6-4B08-A7E8-D22FB8F4E11E}" destId="{FED484CF-CAFD-42A6-B03C-F56E60314283}" srcOrd="2" destOrd="0" parTransId="{6E435F5A-62AD-47AA-AEFA-E429BD29E82E}" sibTransId="{121A0B00-F915-4456-BA8D-71D97154204A}"/>
    <dgm:cxn modelId="{5534CC3D-D585-4B01-85D8-C752F5C03A0B}" srcId="{60C67DB7-D648-4D0B-A29E-FEB4EA0BD46C}" destId="{6BF1C937-0B1B-4E6D-A33B-67F9CB05EAA1}" srcOrd="1" destOrd="0" parTransId="{B8930035-FBC2-43CC-AED0-6EE35EA56909}" sibTransId="{FD8D88C2-C25D-44D5-8DA2-19E2DB644940}"/>
    <dgm:cxn modelId="{88FA0D61-B8E1-46A5-AF18-9A5FFD25139F}" type="presOf" srcId="{36AFBF3F-66B6-4FCE-9F1C-7047A9900F91}" destId="{CC26AD0D-8254-4830-9806-447EDDE70C7D}" srcOrd="0" destOrd="3" presId="urn:microsoft.com/office/officeart/2005/8/layout/hList1"/>
    <dgm:cxn modelId="{A6C76E43-B93A-4DE2-B98F-A5EF9106DA99}" type="presOf" srcId="{FEF114F9-B25B-438A-A691-027A39AFDE29}" destId="{77062D2B-27B4-49E8-BC9E-26F6EDFBC16A}" srcOrd="0" destOrd="2" presId="urn:microsoft.com/office/officeart/2005/8/layout/hList1"/>
    <dgm:cxn modelId="{75A78048-1740-449C-8AE6-222059CB6664}" srcId="{60C67DB7-D648-4D0B-A29E-FEB4EA0BD46C}" destId="{89E6B3A9-DFA6-40B8-9547-3D87271A34A7}" srcOrd="0" destOrd="0" parTransId="{403DB1B9-AA53-4E73-BBDD-540079F046D4}" sibTransId="{273DA44D-A6B6-418D-8816-0250419FA154}"/>
    <dgm:cxn modelId="{F971C648-379F-47FA-A62B-E14E213C78C4}" srcId="{F5F1CF55-E4E6-4B08-A7E8-D22FB8F4E11E}" destId="{7E5FFDF1-07CD-4690-9873-2BF44A0C914B}" srcOrd="1" destOrd="0" parTransId="{F7BDC41C-83A0-4A7C-A54D-B7C0F7EEBE0F}" sibTransId="{82DE0B53-028E-4766-8EB1-578D5D75780C}"/>
    <dgm:cxn modelId="{C51B3450-C949-400D-AD88-57B4E0AD89C1}" type="presOf" srcId="{7C07D7D9-CD68-458A-BEE4-1BD86D28F973}" destId="{7621D7EC-8E91-4664-AA41-7F5C1D3589B3}" srcOrd="0" destOrd="1" presId="urn:microsoft.com/office/officeart/2005/8/layout/hList1"/>
    <dgm:cxn modelId="{DDAF1F54-9664-468C-B020-E208FDF22D45}" type="presOf" srcId="{F5F1CF55-E4E6-4B08-A7E8-D22FB8F4E11E}" destId="{E9743C24-E2F1-4E7E-9299-129B6C30A681}" srcOrd="0" destOrd="0" presId="urn:microsoft.com/office/officeart/2005/8/layout/hList1"/>
    <dgm:cxn modelId="{DCE75557-C8E7-4EE9-8E19-394C23D1652D}" type="presOf" srcId="{091832AA-40F7-447B-8076-4A13574854FE}" destId="{C13E4140-296A-464E-8EE9-D3E38DE31688}" srcOrd="0" destOrd="0" presId="urn:microsoft.com/office/officeart/2005/8/layout/hList1"/>
    <dgm:cxn modelId="{EF03EF8C-017E-44C8-A67A-BCA4E67322F4}" type="presOf" srcId="{89E6B3A9-DFA6-40B8-9547-3D87271A34A7}" destId="{77062D2B-27B4-49E8-BC9E-26F6EDFBC16A}" srcOrd="0" destOrd="0" presId="urn:microsoft.com/office/officeart/2005/8/layout/hList1"/>
    <dgm:cxn modelId="{BB2FD89E-9D5F-4BD9-97EA-BDA8D8069C1B}" srcId="{091832AA-40F7-447B-8076-4A13574854FE}" destId="{7C07D7D9-CD68-458A-BEE4-1BD86D28F973}" srcOrd="1" destOrd="0" parTransId="{8B20889A-4874-4903-A57A-1274D170DCAB}" sibTransId="{9D69B272-A8AA-4E87-93D0-50D6252ADBFC}"/>
    <dgm:cxn modelId="{370D769F-548B-4F73-A9D3-674F8CC30BA8}" srcId="{091832AA-40F7-447B-8076-4A13574854FE}" destId="{016E9071-76ED-449A-8EEF-F8FB7D1E22BC}" srcOrd="2" destOrd="0" parTransId="{D1199F0B-A23A-4DE6-A522-12326067AEA8}" sibTransId="{8971029E-693B-411B-B148-FF8FBA0D0532}"/>
    <dgm:cxn modelId="{772873A2-B968-4F8A-9695-EDF466981C98}" type="presOf" srcId="{60C67DB7-D648-4D0B-A29E-FEB4EA0BD46C}" destId="{AA4904D6-3127-455E-AD70-BA6DAC6E2317}" srcOrd="0" destOrd="0" presId="urn:microsoft.com/office/officeart/2005/8/layout/hList1"/>
    <dgm:cxn modelId="{94CC2EB3-8CE7-4AE3-A779-21D4FFA5DAC6}" type="presOf" srcId="{09A22903-FBF9-406C-A8F0-5D139BEC8D16}" destId="{7621D7EC-8E91-4664-AA41-7F5C1D3589B3}" srcOrd="0" destOrd="3" presId="urn:microsoft.com/office/officeart/2005/8/layout/hList1"/>
    <dgm:cxn modelId="{68B74ACB-0A73-4FB9-8670-A68AB0594071}" type="presOf" srcId="{7E5FFDF1-07CD-4690-9873-2BF44A0C914B}" destId="{CC26AD0D-8254-4830-9806-447EDDE70C7D}" srcOrd="0" destOrd="1" presId="urn:microsoft.com/office/officeart/2005/8/layout/hList1"/>
    <dgm:cxn modelId="{B231E2CD-7922-421C-B870-A51890BC2AC1}" srcId="{F5F1CF55-E4E6-4B08-A7E8-D22FB8F4E11E}" destId="{36AFBF3F-66B6-4FCE-9F1C-7047A9900F91}" srcOrd="3" destOrd="0" parTransId="{06E8631D-D3DE-41B1-B45B-30DF574D9871}" sibTransId="{5FB00D81-85AD-4092-BBED-0B68A74B35AA}"/>
    <dgm:cxn modelId="{99A138E0-D2AE-4024-BCB7-A25327C6F921}" type="presOf" srcId="{FED484CF-CAFD-42A6-B03C-F56E60314283}" destId="{CC26AD0D-8254-4830-9806-447EDDE70C7D}" srcOrd="0" destOrd="2" presId="urn:microsoft.com/office/officeart/2005/8/layout/hList1"/>
    <dgm:cxn modelId="{FAFE99EC-7117-46C7-B1ED-B7179383ABE7}" type="presOf" srcId="{6BF1C937-0B1B-4E6D-A33B-67F9CB05EAA1}" destId="{77062D2B-27B4-49E8-BC9E-26F6EDFBC16A}" srcOrd="0" destOrd="1" presId="urn:microsoft.com/office/officeart/2005/8/layout/hList1"/>
    <dgm:cxn modelId="{518205F4-0134-4F39-B3B4-397893469C7B}" srcId="{6D082E63-8F11-4FB6-912C-5A35160DA22E}" destId="{60C67DB7-D648-4D0B-A29E-FEB4EA0BD46C}" srcOrd="1" destOrd="0" parTransId="{EA627A3B-684C-479C-94FF-7D6CF6E885DE}" sibTransId="{7F34FFE3-E879-46F3-85A0-388D3A756E35}"/>
    <dgm:cxn modelId="{27E43DE8-C3C7-49D0-9368-26507FFCB09C}" type="presParOf" srcId="{4671E395-9965-4E10-9406-5920CF6A6F68}" destId="{67808638-9970-415B-BFB6-CAA94FD4DBDA}" srcOrd="0" destOrd="0" presId="urn:microsoft.com/office/officeart/2005/8/layout/hList1"/>
    <dgm:cxn modelId="{8C9C40BE-CFEC-4042-A8F5-AAEBBC5023F4}" type="presParOf" srcId="{67808638-9970-415B-BFB6-CAA94FD4DBDA}" destId="{C13E4140-296A-464E-8EE9-D3E38DE31688}" srcOrd="0" destOrd="0" presId="urn:microsoft.com/office/officeart/2005/8/layout/hList1"/>
    <dgm:cxn modelId="{ED683474-9FBD-4084-A2F8-A6CD368B7F1C}" type="presParOf" srcId="{67808638-9970-415B-BFB6-CAA94FD4DBDA}" destId="{7621D7EC-8E91-4664-AA41-7F5C1D3589B3}" srcOrd="1" destOrd="0" presId="urn:microsoft.com/office/officeart/2005/8/layout/hList1"/>
    <dgm:cxn modelId="{ABA929CE-9933-401D-B00F-865EAA04693C}" type="presParOf" srcId="{4671E395-9965-4E10-9406-5920CF6A6F68}" destId="{B075D7B2-A770-402E-B90F-4C2293D8313B}" srcOrd="1" destOrd="0" presId="urn:microsoft.com/office/officeart/2005/8/layout/hList1"/>
    <dgm:cxn modelId="{03B12693-46F2-4F05-963F-288138E5A2D4}" type="presParOf" srcId="{4671E395-9965-4E10-9406-5920CF6A6F68}" destId="{C5793774-5BBA-4FD9-BB2E-B1474251B83A}" srcOrd="2" destOrd="0" presId="urn:microsoft.com/office/officeart/2005/8/layout/hList1"/>
    <dgm:cxn modelId="{2015D369-1A51-4975-994A-CCFF842DFD3B}" type="presParOf" srcId="{C5793774-5BBA-4FD9-BB2E-B1474251B83A}" destId="{AA4904D6-3127-455E-AD70-BA6DAC6E2317}" srcOrd="0" destOrd="0" presId="urn:microsoft.com/office/officeart/2005/8/layout/hList1"/>
    <dgm:cxn modelId="{D7080042-F039-4ECE-8F5C-454491CF0966}" type="presParOf" srcId="{C5793774-5BBA-4FD9-BB2E-B1474251B83A}" destId="{77062D2B-27B4-49E8-BC9E-26F6EDFBC16A}" srcOrd="1" destOrd="0" presId="urn:microsoft.com/office/officeart/2005/8/layout/hList1"/>
    <dgm:cxn modelId="{AC20CAFE-6CEE-4026-8206-596166298CA1}" type="presParOf" srcId="{4671E395-9965-4E10-9406-5920CF6A6F68}" destId="{01C84D51-5DFF-4C62-9ECA-B8238208E77B}" srcOrd="3" destOrd="0" presId="urn:microsoft.com/office/officeart/2005/8/layout/hList1"/>
    <dgm:cxn modelId="{1873B26D-C7D3-4F01-9E38-D53FE3EE1412}" type="presParOf" srcId="{4671E395-9965-4E10-9406-5920CF6A6F68}" destId="{E6415D35-030A-4990-A766-8379BD93DDC2}" srcOrd="4" destOrd="0" presId="urn:microsoft.com/office/officeart/2005/8/layout/hList1"/>
    <dgm:cxn modelId="{CAB2F65C-DA93-44B1-BC4C-1D190DF7119B}" type="presParOf" srcId="{E6415D35-030A-4990-A766-8379BD93DDC2}" destId="{E9743C24-E2F1-4E7E-9299-129B6C30A681}" srcOrd="0" destOrd="0" presId="urn:microsoft.com/office/officeart/2005/8/layout/hList1"/>
    <dgm:cxn modelId="{03399A5B-4FCE-464A-9F2E-275F59525468}" type="presParOf" srcId="{E6415D35-030A-4990-A766-8379BD93DDC2}" destId="{CC26AD0D-8254-4830-9806-447EDDE70C7D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BE0677A-D868-4CE4-B42D-13661CD5F9BB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8A6A937-80C7-43C9-A699-55571CA9781C}">
      <dgm:prSet phldrT="[Text]"/>
      <dgm:spPr>
        <a:solidFill>
          <a:srgbClr val="39A6B1"/>
        </a:solidFill>
      </dgm:spPr>
      <dgm:t>
        <a:bodyPr/>
        <a:lstStyle/>
        <a:p>
          <a:r>
            <a:rPr lang="en-US" dirty="0"/>
            <a:t>To help you prepare for the exam</a:t>
          </a:r>
        </a:p>
      </dgm:t>
    </dgm:pt>
    <dgm:pt modelId="{F208087B-4E46-452B-9D70-25D7408276BF}" type="parTrans" cxnId="{6ACA1FE4-3756-48B1-82F2-85F415897B2F}">
      <dgm:prSet/>
      <dgm:spPr/>
      <dgm:t>
        <a:bodyPr/>
        <a:lstStyle/>
        <a:p>
          <a:endParaRPr lang="en-US"/>
        </a:p>
      </dgm:t>
    </dgm:pt>
    <dgm:pt modelId="{29F98AF0-B2C1-4E6E-A768-2637C64AF88A}" type="sibTrans" cxnId="{6ACA1FE4-3756-48B1-82F2-85F415897B2F}">
      <dgm:prSet/>
      <dgm:spPr/>
      <dgm:t>
        <a:bodyPr/>
        <a:lstStyle/>
        <a:p>
          <a:endParaRPr lang="en-US"/>
        </a:p>
      </dgm:t>
    </dgm:pt>
    <dgm:pt modelId="{50230F7C-3265-49A7-85C9-DAEF585AFD4F}">
      <dgm:prSet phldrT="[Text]"/>
      <dgm:spPr/>
      <dgm:t>
        <a:bodyPr/>
        <a:lstStyle/>
        <a:p>
          <a:r>
            <a:rPr lang="en-US" dirty="0"/>
            <a:t>Examinee Preparation Guide</a:t>
          </a:r>
        </a:p>
      </dgm:t>
    </dgm:pt>
    <dgm:pt modelId="{665AD103-8C24-4B29-9465-426B408DA592}" type="parTrans" cxnId="{500E0AD1-28F5-44F3-9007-B06AB897E350}">
      <dgm:prSet/>
      <dgm:spPr/>
      <dgm:t>
        <a:bodyPr/>
        <a:lstStyle/>
        <a:p>
          <a:endParaRPr lang="en-US"/>
        </a:p>
      </dgm:t>
    </dgm:pt>
    <dgm:pt modelId="{E5E53F29-7650-4278-8025-9BF1289443AC}" type="sibTrans" cxnId="{500E0AD1-28F5-44F3-9007-B06AB897E350}">
      <dgm:prSet/>
      <dgm:spPr/>
      <dgm:t>
        <a:bodyPr/>
        <a:lstStyle/>
        <a:p>
          <a:endParaRPr lang="en-US"/>
        </a:p>
      </dgm:t>
    </dgm:pt>
    <dgm:pt modelId="{A99AB4A9-9F70-40E3-98ED-44DEE9135CC2}">
      <dgm:prSet phldrT="[Text]"/>
      <dgm:spPr>
        <a:solidFill>
          <a:srgbClr val="39A6B1"/>
        </a:solidFill>
      </dgm:spPr>
      <dgm:t>
        <a:bodyPr/>
        <a:lstStyle/>
        <a:p>
          <a:r>
            <a:rPr lang="en-US" dirty="0"/>
            <a:t>To help you prepare for test day</a:t>
          </a:r>
        </a:p>
      </dgm:t>
    </dgm:pt>
    <dgm:pt modelId="{67735CA8-458A-4238-8ACD-F1854C95E9AA}" type="parTrans" cxnId="{F0280085-8A13-45B1-BE4F-B580D7DED7E0}">
      <dgm:prSet/>
      <dgm:spPr/>
      <dgm:t>
        <a:bodyPr/>
        <a:lstStyle/>
        <a:p>
          <a:endParaRPr lang="en-US"/>
        </a:p>
      </dgm:t>
    </dgm:pt>
    <dgm:pt modelId="{182AF65C-D1E9-4236-AF2D-B4856E84D49B}" type="sibTrans" cxnId="{F0280085-8A13-45B1-BE4F-B580D7DED7E0}">
      <dgm:prSet/>
      <dgm:spPr/>
      <dgm:t>
        <a:bodyPr/>
        <a:lstStyle/>
        <a:p>
          <a:endParaRPr lang="en-US"/>
        </a:p>
      </dgm:t>
    </dgm:pt>
    <dgm:pt modelId="{9BC748A2-30FF-4A27-B1AB-53A0FCF0BB0F}">
      <dgm:prSet phldrT="[Text]"/>
      <dgm:spPr/>
      <dgm:t>
        <a:bodyPr/>
        <a:lstStyle/>
        <a:p>
          <a:r>
            <a:rPr lang="en-US" dirty="0"/>
            <a:t>AAMC PREview Essentials</a:t>
          </a:r>
        </a:p>
      </dgm:t>
    </dgm:pt>
    <dgm:pt modelId="{D4ACAACA-56AA-4D2F-B12E-8CF1920C640B}" type="parTrans" cxnId="{0B7A663F-A0D1-4D37-A0B0-28CE2690EF6A}">
      <dgm:prSet/>
      <dgm:spPr/>
      <dgm:t>
        <a:bodyPr/>
        <a:lstStyle/>
        <a:p>
          <a:endParaRPr lang="en-US"/>
        </a:p>
      </dgm:t>
    </dgm:pt>
    <dgm:pt modelId="{30274E97-DAB1-438B-92C9-1035978A5329}" type="sibTrans" cxnId="{0B7A663F-A0D1-4D37-A0B0-28CE2690EF6A}">
      <dgm:prSet/>
      <dgm:spPr/>
      <dgm:t>
        <a:bodyPr/>
        <a:lstStyle/>
        <a:p>
          <a:endParaRPr lang="en-US"/>
        </a:p>
      </dgm:t>
    </dgm:pt>
    <dgm:pt modelId="{788F7DA1-420E-41A4-953A-F9A1A0AFAF58}">
      <dgm:prSet/>
      <dgm:spPr/>
      <dgm:t>
        <a:bodyPr/>
        <a:lstStyle/>
        <a:p>
          <a:r>
            <a:rPr lang="en-US" dirty="0"/>
            <a:t>Exam Sample</a:t>
          </a:r>
        </a:p>
      </dgm:t>
    </dgm:pt>
    <dgm:pt modelId="{DAB07274-B37E-4A12-ACA9-E7276809F37B}" type="parTrans" cxnId="{710A500D-22B6-4D8A-892D-5784D263A0EB}">
      <dgm:prSet/>
      <dgm:spPr/>
      <dgm:t>
        <a:bodyPr/>
        <a:lstStyle/>
        <a:p>
          <a:endParaRPr lang="en-US"/>
        </a:p>
      </dgm:t>
    </dgm:pt>
    <dgm:pt modelId="{FEA12980-7238-449F-B229-2682D7292332}" type="sibTrans" cxnId="{710A500D-22B6-4D8A-892D-5784D263A0EB}">
      <dgm:prSet/>
      <dgm:spPr/>
      <dgm:t>
        <a:bodyPr/>
        <a:lstStyle/>
        <a:p>
          <a:endParaRPr lang="en-US"/>
        </a:p>
      </dgm:t>
    </dgm:pt>
    <dgm:pt modelId="{F569EBD9-86BC-44F1-B63E-BB3171BE05C3}">
      <dgm:prSet/>
      <dgm:spPr/>
      <dgm:t>
        <a:bodyPr/>
        <a:lstStyle/>
        <a:p>
          <a:r>
            <a:rPr lang="en-US" dirty="0"/>
            <a:t>Test Day Experience Video</a:t>
          </a:r>
        </a:p>
      </dgm:t>
    </dgm:pt>
    <dgm:pt modelId="{11D48397-832B-449B-B3BB-3D282B0B25A8}" type="parTrans" cxnId="{0933E339-5A63-4293-A233-C90732186D9C}">
      <dgm:prSet/>
      <dgm:spPr/>
      <dgm:t>
        <a:bodyPr/>
        <a:lstStyle/>
        <a:p>
          <a:endParaRPr lang="en-US"/>
        </a:p>
      </dgm:t>
    </dgm:pt>
    <dgm:pt modelId="{E5247007-3DB6-4954-A179-EB400B609BD5}" type="sibTrans" cxnId="{0933E339-5A63-4293-A233-C90732186D9C}">
      <dgm:prSet/>
      <dgm:spPr/>
      <dgm:t>
        <a:bodyPr/>
        <a:lstStyle/>
        <a:p>
          <a:endParaRPr lang="en-US"/>
        </a:p>
      </dgm:t>
    </dgm:pt>
    <dgm:pt modelId="{E5961F56-B918-4B62-931A-5083F677B366}">
      <dgm:prSet/>
      <dgm:spPr/>
      <dgm:t>
        <a:bodyPr/>
        <a:lstStyle/>
        <a:p>
          <a:r>
            <a:rPr lang="en-US" dirty="0"/>
            <a:t>Online Testing System Tutorial</a:t>
          </a:r>
        </a:p>
      </dgm:t>
    </dgm:pt>
    <dgm:pt modelId="{0C990AC2-D949-4FE4-8E83-97C4DC06CB91}" type="parTrans" cxnId="{8B346FD5-70A7-4038-A148-99CA9484A44E}">
      <dgm:prSet/>
      <dgm:spPr/>
      <dgm:t>
        <a:bodyPr/>
        <a:lstStyle/>
        <a:p>
          <a:endParaRPr lang="en-US"/>
        </a:p>
      </dgm:t>
    </dgm:pt>
    <dgm:pt modelId="{58A0E833-79F2-4498-A6FB-EAD845939D7D}" type="sibTrans" cxnId="{8B346FD5-70A7-4038-A148-99CA9484A44E}">
      <dgm:prSet/>
      <dgm:spPr/>
      <dgm:t>
        <a:bodyPr/>
        <a:lstStyle/>
        <a:p>
          <a:endParaRPr lang="en-US"/>
        </a:p>
      </dgm:t>
    </dgm:pt>
    <dgm:pt modelId="{385DC12E-0601-45B3-AA0F-4A0B343CE7D1}">
      <dgm:prSet/>
      <dgm:spPr/>
      <dgm:t>
        <a:bodyPr/>
        <a:lstStyle/>
        <a:p>
          <a:r>
            <a:rPr lang="en-US" dirty="0"/>
            <a:t>PREview™ Nuts-n-Bolts: Scheduling and Taking the AAMC PREview™ Professional Readiness Exam Webinar</a:t>
          </a:r>
        </a:p>
      </dgm:t>
    </dgm:pt>
    <dgm:pt modelId="{33364254-E866-4E44-8BC0-E95F66E219E0}" type="parTrans" cxnId="{B78A3972-17E2-44E4-B5F6-96062481A858}">
      <dgm:prSet/>
      <dgm:spPr/>
      <dgm:t>
        <a:bodyPr/>
        <a:lstStyle/>
        <a:p>
          <a:endParaRPr lang="en-US"/>
        </a:p>
      </dgm:t>
    </dgm:pt>
    <dgm:pt modelId="{7EE8F1AF-80AB-4393-8A4C-1AE416BF8A98}" type="sibTrans" cxnId="{B78A3972-17E2-44E4-B5F6-96062481A858}">
      <dgm:prSet/>
      <dgm:spPr/>
      <dgm:t>
        <a:bodyPr/>
        <a:lstStyle/>
        <a:p>
          <a:endParaRPr lang="en-US"/>
        </a:p>
      </dgm:t>
    </dgm:pt>
    <dgm:pt modelId="{7B725A6E-5419-46A5-B508-0BD3E5DA29C3}">
      <dgm:prSet/>
      <dgm:spPr/>
      <dgm:t>
        <a:bodyPr/>
        <a:lstStyle/>
        <a:p>
          <a:r>
            <a:rPr lang="en-US"/>
            <a:t>Practice </a:t>
          </a:r>
          <a:r>
            <a:rPr lang="en-US" dirty="0"/>
            <a:t>Exam Booklet</a:t>
          </a:r>
        </a:p>
      </dgm:t>
    </dgm:pt>
    <dgm:pt modelId="{B02F8289-259F-4FA2-B524-BB814B886FA8}" type="parTrans" cxnId="{64FE5363-126C-46D6-B848-D05715F53B83}">
      <dgm:prSet/>
      <dgm:spPr/>
      <dgm:t>
        <a:bodyPr/>
        <a:lstStyle/>
        <a:p>
          <a:endParaRPr lang="en-US"/>
        </a:p>
      </dgm:t>
    </dgm:pt>
    <dgm:pt modelId="{BE4B3467-08FC-413A-A50A-B2E0F52A8E9B}" type="sibTrans" cxnId="{64FE5363-126C-46D6-B848-D05715F53B83}">
      <dgm:prSet/>
      <dgm:spPr/>
      <dgm:t>
        <a:bodyPr/>
        <a:lstStyle/>
        <a:p>
          <a:endParaRPr lang="en-US"/>
        </a:p>
      </dgm:t>
    </dgm:pt>
    <dgm:pt modelId="{94262948-EF90-4237-9D95-D2EB3397509D}" type="pres">
      <dgm:prSet presAssocID="{FBE0677A-D868-4CE4-B42D-13661CD5F9BB}" presName="linear" presStyleCnt="0">
        <dgm:presLayoutVars>
          <dgm:animLvl val="lvl"/>
          <dgm:resizeHandles val="exact"/>
        </dgm:presLayoutVars>
      </dgm:prSet>
      <dgm:spPr/>
    </dgm:pt>
    <dgm:pt modelId="{CC48930E-3283-482B-A1F1-C3891EA8FBDA}" type="pres">
      <dgm:prSet presAssocID="{A8A6A937-80C7-43C9-A699-55571CA9781C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1C6FAC19-666E-42DA-A52B-1A9B9A1246EC}" type="pres">
      <dgm:prSet presAssocID="{A8A6A937-80C7-43C9-A699-55571CA9781C}" presName="childText" presStyleLbl="revTx" presStyleIdx="0" presStyleCnt="2">
        <dgm:presLayoutVars>
          <dgm:bulletEnabled val="1"/>
        </dgm:presLayoutVars>
      </dgm:prSet>
      <dgm:spPr/>
    </dgm:pt>
    <dgm:pt modelId="{8B65C57A-5A76-4198-9031-D1432E77D234}" type="pres">
      <dgm:prSet presAssocID="{A99AB4A9-9F70-40E3-98ED-44DEE9135CC2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96403280-445C-4A78-87A4-52D49043146F}" type="pres">
      <dgm:prSet presAssocID="{A99AB4A9-9F70-40E3-98ED-44DEE9135CC2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710A500D-22B6-4D8A-892D-5784D263A0EB}" srcId="{A8A6A937-80C7-43C9-A699-55571CA9781C}" destId="{788F7DA1-420E-41A4-953A-F9A1A0AFAF58}" srcOrd="1" destOrd="0" parTransId="{DAB07274-B37E-4A12-ACA9-E7276809F37B}" sibTransId="{FEA12980-7238-449F-B229-2682D7292332}"/>
    <dgm:cxn modelId="{0933E339-5A63-4293-A233-C90732186D9C}" srcId="{A99AB4A9-9F70-40E3-98ED-44DEE9135CC2}" destId="{F569EBD9-86BC-44F1-B63E-BB3171BE05C3}" srcOrd="1" destOrd="0" parTransId="{11D48397-832B-449B-B3BB-3D282B0B25A8}" sibTransId="{E5247007-3DB6-4954-A179-EB400B609BD5}"/>
    <dgm:cxn modelId="{0B7A663F-A0D1-4D37-A0B0-28CE2690EF6A}" srcId="{A99AB4A9-9F70-40E3-98ED-44DEE9135CC2}" destId="{9BC748A2-30FF-4A27-B1AB-53A0FCF0BB0F}" srcOrd="0" destOrd="0" parTransId="{D4ACAACA-56AA-4D2F-B12E-8CF1920C640B}" sibTransId="{30274E97-DAB1-438B-92C9-1035978A5329}"/>
    <dgm:cxn modelId="{3B844440-3A3E-496F-A841-435A92DBBB01}" type="presOf" srcId="{385DC12E-0601-45B3-AA0F-4A0B343CE7D1}" destId="{96403280-445C-4A78-87A4-52D49043146F}" srcOrd="0" destOrd="3" presId="urn:microsoft.com/office/officeart/2005/8/layout/vList2"/>
    <dgm:cxn modelId="{64FE5363-126C-46D6-B848-D05715F53B83}" srcId="{A8A6A937-80C7-43C9-A699-55571CA9781C}" destId="{7B725A6E-5419-46A5-B508-0BD3E5DA29C3}" srcOrd="2" destOrd="0" parTransId="{B02F8289-259F-4FA2-B524-BB814B886FA8}" sibTransId="{BE4B3467-08FC-413A-A50A-B2E0F52A8E9B}"/>
    <dgm:cxn modelId="{B78A3972-17E2-44E4-B5F6-96062481A858}" srcId="{A99AB4A9-9F70-40E3-98ED-44DEE9135CC2}" destId="{385DC12E-0601-45B3-AA0F-4A0B343CE7D1}" srcOrd="3" destOrd="0" parTransId="{33364254-E866-4E44-8BC0-E95F66E219E0}" sibTransId="{7EE8F1AF-80AB-4393-8A4C-1AE416BF8A98}"/>
    <dgm:cxn modelId="{500C537E-E2BB-4310-BCF6-4C399A9F3B75}" type="presOf" srcId="{50230F7C-3265-49A7-85C9-DAEF585AFD4F}" destId="{1C6FAC19-666E-42DA-A52B-1A9B9A1246EC}" srcOrd="0" destOrd="0" presId="urn:microsoft.com/office/officeart/2005/8/layout/vList2"/>
    <dgm:cxn modelId="{F0280085-8A13-45B1-BE4F-B580D7DED7E0}" srcId="{FBE0677A-D868-4CE4-B42D-13661CD5F9BB}" destId="{A99AB4A9-9F70-40E3-98ED-44DEE9135CC2}" srcOrd="1" destOrd="0" parTransId="{67735CA8-458A-4238-8ACD-F1854C95E9AA}" sibTransId="{182AF65C-D1E9-4236-AF2D-B4856E84D49B}"/>
    <dgm:cxn modelId="{C0F3CA93-1F1C-4905-ACEB-7C4EF3657216}" type="presOf" srcId="{9BC748A2-30FF-4A27-B1AB-53A0FCF0BB0F}" destId="{96403280-445C-4A78-87A4-52D49043146F}" srcOrd="0" destOrd="0" presId="urn:microsoft.com/office/officeart/2005/8/layout/vList2"/>
    <dgm:cxn modelId="{C371FEA7-E19B-48DD-BF30-7FF08A395D02}" type="presOf" srcId="{A8A6A937-80C7-43C9-A699-55571CA9781C}" destId="{CC48930E-3283-482B-A1F1-C3891EA8FBDA}" srcOrd="0" destOrd="0" presId="urn:microsoft.com/office/officeart/2005/8/layout/vList2"/>
    <dgm:cxn modelId="{A831D9B7-9B3A-4F7E-8F21-FAED02B62B70}" type="presOf" srcId="{788F7DA1-420E-41A4-953A-F9A1A0AFAF58}" destId="{1C6FAC19-666E-42DA-A52B-1A9B9A1246EC}" srcOrd="0" destOrd="1" presId="urn:microsoft.com/office/officeart/2005/8/layout/vList2"/>
    <dgm:cxn modelId="{639B25B8-22FD-42AD-8609-02D8F39F4342}" type="presOf" srcId="{A99AB4A9-9F70-40E3-98ED-44DEE9135CC2}" destId="{8B65C57A-5A76-4198-9031-D1432E77D234}" srcOrd="0" destOrd="0" presId="urn:microsoft.com/office/officeart/2005/8/layout/vList2"/>
    <dgm:cxn modelId="{65A872CD-A20D-4B78-8765-1BD218DE8E4D}" type="presOf" srcId="{7B725A6E-5419-46A5-B508-0BD3E5DA29C3}" destId="{1C6FAC19-666E-42DA-A52B-1A9B9A1246EC}" srcOrd="0" destOrd="2" presId="urn:microsoft.com/office/officeart/2005/8/layout/vList2"/>
    <dgm:cxn modelId="{500E0AD1-28F5-44F3-9007-B06AB897E350}" srcId="{A8A6A937-80C7-43C9-A699-55571CA9781C}" destId="{50230F7C-3265-49A7-85C9-DAEF585AFD4F}" srcOrd="0" destOrd="0" parTransId="{665AD103-8C24-4B29-9465-426B408DA592}" sibTransId="{E5E53F29-7650-4278-8025-9BF1289443AC}"/>
    <dgm:cxn modelId="{8B346FD5-70A7-4038-A148-99CA9484A44E}" srcId="{A99AB4A9-9F70-40E3-98ED-44DEE9135CC2}" destId="{E5961F56-B918-4B62-931A-5083F677B366}" srcOrd="2" destOrd="0" parTransId="{0C990AC2-D949-4FE4-8E83-97C4DC06CB91}" sibTransId="{58A0E833-79F2-4498-A6FB-EAD845939D7D}"/>
    <dgm:cxn modelId="{14AFC9E2-30BD-4421-B728-D9BFA0CBE8CD}" type="presOf" srcId="{E5961F56-B918-4B62-931A-5083F677B366}" destId="{96403280-445C-4A78-87A4-52D49043146F}" srcOrd="0" destOrd="2" presId="urn:microsoft.com/office/officeart/2005/8/layout/vList2"/>
    <dgm:cxn modelId="{6ACA1FE4-3756-48B1-82F2-85F415897B2F}" srcId="{FBE0677A-D868-4CE4-B42D-13661CD5F9BB}" destId="{A8A6A937-80C7-43C9-A699-55571CA9781C}" srcOrd="0" destOrd="0" parTransId="{F208087B-4E46-452B-9D70-25D7408276BF}" sibTransId="{29F98AF0-B2C1-4E6E-A768-2637C64AF88A}"/>
    <dgm:cxn modelId="{7A04F4FD-0D5E-4B23-A4FA-F9108D4D3D62}" type="presOf" srcId="{FBE0677A-D868-4CE4-B42D-13661CD5F9BB}" destId="{94262948-EF90-4237-9D95-D2EB3397509D}" srcOrd="0" destOrd="0" presId="urn:microsoft.com/office/officeart/2005/8/layout/vList2"/>
    <dgm:cxn modelId="{D934FCFF-EFE4-404C-AEA2-2CBFFFFC5622}" type="presOf" srcId="{F569EBD9-86BC-44F1-B63E-BB3171BE05C3}" destId="{96403280-445C-4A78-87A4-52D49043146F}" srcOrd="0" destOrd="1" presId="urn:microsoft.com/office/officeart/2005/8/layout/vList2"/>
    <dgm:cxn modelId="{3AF276F0-06FD-41E3-9711-B2B4D534ACDE}" type="presParOf" srcId="{94262948-EF90-4237-9D95-D2EB3397509D}" destId="{CC48930E-3283-482B-A1F1-C3891EA8FBDA}" srcOrd="0" destOrd="0" presId="urn:microsoft.com/office/officeart/2005/8/layout/vList2"/>
    <dgm:cxn modelId="{5BA8BAD6-3C47-4A38-80F9-D779A6CB39E0}" type="presParOf" srcId="{94262948-EF90-4237-9D95-D2EB3397509D}" destId="{1C6FAC19-666E-42DA-A52B-1A9B9A1246EC}" srcOrd="1" destOrd="0" presId="urn:microsoft.com/office/officeart/2005/8/layout/vList2"/>
    <dgm:cxn modelId="{05F45A4C-30D0-4E33-A0BE-105959109149}" type="presParOf" srcId="{94262948-EF90-4237-9D95-D2EB3397509D}" destId="{8B65C57A-5A76-4198-9031-D1432E77D234}" srcOrd="2" destOrd="0" presId="urn:microsoft.com/office/officeart/2005/8/layout/vList2"/>
    <dgm:cxn modelId="{B3D694CA-B5C7-4D12-BE42-7F70A17BF9E2}" type="presParOf" srcId="{94262948-EF90-4237-9D95-D2EB3397509D}" destId="{96403280-445C-4A78-87A4-52D49043146F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F07BBB-5988-4459-8B00-D3434C0238CF}">
      <dsp:nvSpPr>
        <dsp:cNvPr id="0" name=""/>
        <dsp:cNvSpPr/>
      </dsp:nvSpPr>
      <dsp:spPr>
        <a:xfrm rot="5400000">
          <a:off x="6589693" y="-2661723"/>
          <a:ext cx="1121829" cy="6729984"/>
        </a:xfrm>
        <a:prstGeom prst="rect">
          <a:avLst/>
        </a:prstGeom>
        <a:solidFill>
          <a:srgbClr val="83CAAC">
            <a:alpha val="90000"/>
          </a:srgb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b="0" i="0" kern="1200" dirty="0">
              <a:solidFill>
                <a:srgbClr val="292929"/>
              </a:solidFill>
              <a:effectLst/>
              <a:latin typeface="robotoregular"/>
            </a:rPr>
            <a:t>Developed in collaboration with educators throughout the medical school community.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800" b="0" i="0" kern="1200" dirty="0">
              <a:solidFill>
                <a:srgbClr val="292929"/>
              </a:solidFill>
              <a:effectLst/>
              <a:latin typeface="robotoregular"/>
            </a:rPr>
            <a:t>Uses scenarios that students may encounter in              medical school. </a:t>
          </a:r>
          <a:endParaRPr lang="en-US" sz="1800" kern="1200" dirty="0"/>
        </a:p>
      </dsp:txBody>
      <dsp:txXfrm rot="-5400000">
        <a:off x="3785616" y="142354"/>
        <a:ext cx="6729984" cy="1121829"/>
      </dsp:txXfrm>
    </dsp:sp>
    <dsp:sp modelId="{7FE7A8AF-0FB0-4E8A-8CA6-9D3EA24653B5}">
      <dsp:nvSpPr>
        <dsp:cNvPr id="0" name=""/>
        <dsp:cNvSpPr/>
      </dsp:nvSpPr>
      <dsp:spPr>
        <a:xfrm>
          <a:off x="0" y="2124"/>
          <a:ext cx="3785616" cy="140228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68580" rIns="137160" bIns="6858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Medical School Focused</a:t>
          </a:r>
        </a:p>
      </dsp:txBody>
      <dsp:txXfrm>
        <a:off x="0" y="2124"/>
        <a:ext cx="3785616" cy="1402286"/>
      </dsp:txXfrm>
    </dsp:sp>
    <dsp:sp modelId="{23D767CA-0316-436D-B282-BC056CAA67A7}">
      <dsp:nvSpPr>
        <dsp:cNvPr id="0" name=""/>
        <dsp:cNvSpPr/>
      </dsp:nvSpPr>
      <dsp:spPr>
        <a:xfrm rot="5400000">
          <a:off x="6589693" y="-1189323"/>
          <a:ext cx="1121829" cy="6729984"/>
        </a:xfrm>
        <a:prstGeom prst="rect">
          <a:avLst/>
        </a:prstGeom>
        <a:solidFill>
          <a:srgbClr val="83CAAC">
            <a:alpha val="90000"/>
          </a:srgb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800" b="0" i="0" kern="1200" dirty="0">
              <a:solidFill>
                <a:srgbClr val="292929"/>
              </a:solidFill>
              <a:effectLst/>
              <a:latin typeface="robotoregular"/>
            </a:rPr>
            <a:t>You complete the exam at a location of your choosing. 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800" b="0" i="0" kern="1200" dirty="0">
              <a:solidFill>
                <a:srgbClr val="292929"/>
              </a:solidFill>
              <a:effectLst/>
              <a:latin typeface="robotoregular"/>
            </a:rPr>
            <a:t>The exam takes approximately 75 minutes to complete.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800" b="0" i="0" kern="1200" dirty="0">
              <a:solidFill>
                <a:srgbClr val="292929"/>
              </a:solidFill>
              <a:effectLst/>
              <a:latin typeface="robotoregular"/>
            </a:rPr>
            <a:t>Scores are incorporated in your AMCAS application.</a:t>
          </a:r>
          <a:endParaRPr lang="en-US" sz="1800" kern="1200" dirty="0"/>
        </a:p>
      </dsp:txBody>
      <dsp:txXfrm rot="-5400000">
        <a:off x="3785616" y="1614754"/>
        <a:ext cx="6729984" cy="1121829"/>
      </dsp:txXfrm>
    </dsp:sp>
    <dsp:sp modelId="{E4317673-C5B0-4FA4-A390-72AC0DA5522A}">
      <dsp:nvSpPr>
        <dsp:cNvPr id="0" name=""/>
        <dsp:cNvSpPr/>
      </dsp:nvSpPr>
      <dsp:spPr>
        <a:xfrm>
          <a:off x="0" y="1474525"/>
          <a:ext cx="3785616" cy="140228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68580" rIns="137160" bIns="6858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b="0" i="0" kern="1200" dirty="0"/>
            <a:t>Convenient</a:t>
          </a:r>
          <a:endParaRPr lang="en-US" sz="4400" kern="1200" dirty="0"/>
        </a:p>
      </dsp:txBody>
      <dsp:txXfrm>
        <a:off x="0" y="1474525"/>
        <a:ext cx="3785616" cy="1402286"/>
      </dsp:txXfrm>
    </dsp:sp>
    <dsp:sp modelId="{63810719-7E31-4327-9926-F22478E3BFD7}">
      <dsp:nvSpPr>
        <dsp:cNvPr id="0" name=""/>
        <dsp:cNvSpPr/>
      </dsp:nvSpPr>
      <dsp:spPr>
        <a:xfrm rot="5400000">
          <a:off x="6589693" y="283077"/>
          <a:ext cx="1121829" cy="6729984"/>
        </a:xfrm>
        <a:prstGeom prst="rect">
          <a:avLst/>
        </a:prstGeom>
        <a:solidFill>
          <a:srgbClr val="83CAAC">
            <a:alpha val="90000"/>
          </a:srgb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2000" kern="1200" dirty="0"/>
            <a:t>The AAMC PREview exam is an opportunity for you to showcase your knowledge of competencies that go beyond your academic readiness.</a:t>
          </a:r>
        </a:p>
      </dsp:txBody>
      <dsp:txXfrm rot="-5400000">
        <a:off x="3785616" y="3087154"/>
        <a:ext cx="6729984" cy="1121829"/>
      </dsp:txXfrm>
    </dsp:sp>
    <dsp:sp modelId="{C555A524-F519-41A1-9DDA-E7F66984E9D2}">
      <dsp:nvSpPr>
        <dsp:cNvPr id="0" name=""/>
        <dsp:cNvSpPr/>
      </dsp:nvSpPr>
      <dsp:spPr>
        <a:xfrm>
          <a:off x="0" y="2946926"/>
          <a:ext cx="3785616" cy="140228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68580" rIns="137160" bIns="6858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Showcase Your Knowledge</a:t>
          </a:r>
        </a:p>
      </dsp:txBody>
      <dsp:txXfrm>
        <a:off x="0" y="2946926"/>
        <a:ext cx="3785616" cy="140228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3E4140-296A-464E-8EE9-D3E38DE31688}">
      <dsp:nvSpPr>
        <dsp:cNvPr id="0" name=""/>
        <dsp:cNvSpPr/>
      </dsp:nvSpPr>
      <dsp:spPr>
        <a:xfrm>
          <a:off x="3328" y="318326"/>
          <a:ext cx="3245085" cy="1298034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13792" rIns="199136" bIns="113792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Technical</a:t>
          </a:r>
        </a:p>
      </dsp:txBody>
      <dsp:txXfrm>
        <a:off x="3328" y="318326"/>
        <a:ext cx="3245085" cy="1298034"/>
      </dsp:txXfrm>
    </dsp:sp>
    <dsp:sp modelId="{7621D7EC-8E91-4664-AA41-7F5C1D3589B3}">
      <dsp:nvSpPr>
        <dsp:cNvPr id="0" name=""/>
        <dsp:cNvSpPr/>
      </dsp:nvSpPr>
      <dsp:spPr>
        <a:xfrm>
          <a:off x="3328" y="1616360"/>
          <a:ext cx="3245085" cy="2854800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99136" bIns="224028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/>
            <a:t>Microphone</a:t>
          </a:r>
          <a:endParaRPr lang="en-US" sz="2800" kern="1200" dirty="0"/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/>
            <a:t>Video Camera</a:t>
          </a:r>
          <a:endParaRPr lang="en-US" sz="2800" kern="1200" dirty="0"/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/>
            <a:t>Browser</a:t>
          </a:r>
          <a:endParaRPr lang="en-US" sz="2800" kern="1200" dirty="0"/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/>
            <a:t>ProctorU Extension</a:t>
          </a:r>
          <a:endParaRPr lang="en-US" sz="2800" kern="1200" dirty="0"/>
        </a:p>
      </dsp:txBody>
      <dsp:txXfrm>
        <a:off x="3328" y="1616360"/>
        <a:ext cx="3245085" cy="2854800"/>
      </dsp:txXfrm>
    </dsp:sp>
    <dsp:sp modelId="{AA4904D6-3127-455E-AD70-BA6DAC6E2317}">
      <dsp:nvSpPr>
        <dsp:cNvPr id="0" name=""/>
        <dsp:cNvSpPr/>
      </dsp:nvSpPr>
      <dsp:spPr>
        <a:xfrm>
          <a:off x="3702726" y="318326"/>
          <a:ext cx="3245085" cy="1298034"/>
        </a:xfrm>
        <a:prstGeom prst="rect">
          <a:avLst/>
        </a:prstGeom>
        <a:solidFill>
          <a:srgbClr val="1BB7AC"/>
        </a:solidFill>
        <a:ln w="12700" cap="flat" cmpd="sng" algn="ctr">
          <a:solidFill>
            <a:srgbClr val="1BB7AC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13792" rIns="199136" bIns="113792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Workspace</a:t>
          </a:r>
        </a:p>
      </dsp:txBody>
      <dsp:txXfrm>
        <a:off x="3702726" y="318326"/>
        <a:ext cx="3245085" cy="1298034"/>
      </dsp:txXfrm>
    </dsp:sp>
    <dsp:sp modelId="{77062D2B-27B4-49E8-BC9E-26F6EDFBC16A}">
      <dsp:nvSpPr>
        <dsp:cNvPr id="0" name=""/>
        <dsp:cNvSpPr/>
      </dsp:nvSpPr>
      <dsp:spPr>
        <a:xfrm>
          <a:off x="3702726" y="1616360"/>
          <a:ext cx="3245085" cy="2854800"/>
        </a:xfrm>
        <a:prstGeom prst="rect">
          <a:avLst/>
        </a:prstGeom>
        <a:solidFill>
          <a:srgbClr val="CCE6E3">
            <a:alpha val="89804"/>
          </a:srgbClr>
        </a:solidFill>
        <a:ln w="12700" cap="flat" cmpd="sng" algn="ctr">
          <a:solidFill>
            <a:schemeClr val="accent3">
              <a:tint val="40000"/>
              <a:alpha val="90000"/>
              <a:hueOff val="1014570"/>
              <a:satOff val="50000"/>
              <a:lumOff val="89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99136" bIns="224028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/>
            <a:t>Private room</a:t>
          </a:r>
          <a:endParaRPr lang="en-US" sz="2800" kern="1200" dirty="0"/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 dirty="0"/>
            <a:t>Well-lit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/>
            <a:t>Clear space</a:t>
          </a:r>
          <a:endParaRPr lang="en-US" sz="2800" kern="1200" dirty="0"/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/>
            <a:t>Single monitor</a:t>
          </a:r>
          <a:endParaRPr lang="en-US" sz="2800" kern="1200" dirty="0"/>
        </a:p>
      </dsp:txBody>
      <dsp:txXfrm>
        <a:off x="3702726" y="1616360"/>
        <a:ext cx="3245085" cy="2854800"/>
      </dsp:txXfrm>
    </dsp:sp>
    <dsp:sp modelId="{E9743C24-E2F1-4E7E-9299-129B6C30A681}">
      <dsp:nvSpPr>
        <dsp:cNvPr id="0" name=""/>
        <dsp:cNvSpPr/>
      </dsp:nvSpPr>
      <dsp:spPr>
        <a:xfrm>
          <a:off x="7402123" y="318326"/>
          <a:ext cx="3245085" cy="1298034"/>
        </a:xfrm>
        <a:prstGeom prst="rect">
          <a:avLst/>
        </a:prstGeom>
        <a:solidFill>
          <a:schemeClr val="accent6"/>
        </a:solidFill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13792" rIns="199136" bIns="113792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I.D.</a:t>
          </a:r>
        </a:p>
      </dsp:txBody>
      <dsp:txXfrm>
        <a:off x="7402123" y="318326"/>
        <a:ext cx="3245085" cy="1298034"/>
      </dsp:txXfrm>
    </dsp:sp>
    <dsp:sp modelId="{CC26AD0D-8254-4830-9806-447EDDE70C7D}">
      <dsp:nvSpPr>
        <dsp:cNvPr id="0" name=""/>
        <dsp:cNvSpPr/>
      </dsp:nvSpPr>
      <dsp:spPr>
        <a:xfrm>
          <a:off x="7402123" y="1616360"/>
          <a:ext cx="3245085" cy="2854800"/>
        </a:xfrm>
        <a:prstGeom prst="rect">
          <a:avLst/>
        </a:prstGeom>
        <a:solidFill>
          <a:schemeClr val="accent6">
            <a:lumMod val="20000"/>
            <a:lumOff val="80000"/>
            <a:alpha val="90000"/>
          </a:schemeClr>
        </a:solidFill>
        <a:ln w="12700" cap="flat" cmpd="sng" algn="ctr">
          <a:solidFill>
            <a:schemeClr val="accent6">
              <a:lumMod val="20000"/>
              <a:lumOff val="80000"/>
              <a:alpha val="9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99136" bIns="224028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 dirty="0"/>
            <a:t>Government-Issued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 dirty="0"/>
            <a:t>Signature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 dirty="0"/>
            <a:t>Photo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 dirty="0"/>
            <a:t>Expiration Date</a:t>
          </a:r>
        </a:p>
      </dsp:txBody>
      <dsp:txXfrm>
        <a:off x="7402123" y="1616360"/>
        <a:ext cx="3245085" cy="28548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48930E-3283-482B-A1F1-C3891EA8FBDA}">
      <dsp:nvSpPr>
        <dsp:cNvPr id="0" name=""/>
        <dsp:cNvSpPr/>
      </dsp:nvSpPr>
      <dsp:spPr>
        <a:xfrm>
          <a:off x="0" y="37124"/>
          <a:ext cx="8085015" cy="743535"/>
        </a:xfrm>
        <a:prstGeom prst="roundRect">
          <a:avLst/>
        </a:prstGeom>
        <a:solidFill>
          <a:srgbClr val="39A6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/>
            <a:t>To help you prepare for the exam</a:t>
          </a:r>
        </a:p>
      </dsp:txBody>
      <dsp:txXfrm>
        <a:off x="36296" y="73420"/>
        <a:ext cx="8012423" cy="670943"/>
      </dsp:txXfrm>
    </dsp:sp>
    <dsp:sp modelId="{1C6FAC19-666E-42DA-A52B-1A9B9A1246EC}">
      <dsp:nvSpPr>
        <dsp:cNvPr id="0" name=""/>
        <dsp:cNvSpPr/>
      </dsp:nvSpPr>
      <dsp:spPr>
        <a:xfrm>
          <a:off x="0" y="780659"/>
          <a:ext cx="8085015" cy="12513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6699" tIns="39370" rIns="220472" bIns="3937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400" kern="1200" dirty="0"/>
            <a:t>Examinee Preparation Guide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400" kern="1200" dirty="0"/>
            <a:t>Exam Sample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400" kern="1200"/>
            <a:t>Practice </a:t>
          </a:r>
          <a:r>
            <a:rPr lang="en-US" sz="2400" kern="1200" dirty="0"/>
            <a:t>Exam Booklet</a:t>
          </a:r>
        </a:p>
      </dsp:txBody>
      <dsp:txXfrm>
        <a:off x="0" y="780659"/>
        <a:ext cx="8085015" cy="1251315"/>
      </dsp:txXfrm>
    </dsp:sp>
    <dsp:sp modelId="{8B65C57A-5A76-4198-9031-D1432E77D234}">
      <dsp:nvSpPr>
        <dsp:cNvPr id="0" name=""/>
        <dsp:cNvSpPr/>
      </dsp:nvSpPr>
      <dsp:spPr>
        <a:xfrm>
          <a:off x="0" y="2031974"/>
          <a:ext cx="8085015" cy="743535"/>
        </a:xfrm>
        <a:prstGeom prst="roundRect">
          <a:avLst/>
        </a:prstGeom>
        <a:solidFill>
          <a:srgbClr val="39A6B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/>
            <a:t>To help you prepare for test day</a:t>
          </a:r>
        </a:p>
      </dsp:txBody>
      <dsp:txXfrm>
        <a:off x="36296" y="2068270"/>
        <a:ext cx="8012423" cy="670943"/>
      </dsp:txXfrm>
    </dsp:sp>
    <dsp:sp modelId="{96403280-445C-4A78-87A4-52D49043146F}">
      <dsp:nvSpPr>
        <dsp:cNvPr id="0" name=""/>
        <dsp:cNvSpPr/>
      </dsp:nvSpPr>
      <dsp:spPr>
        <a:xfrm>
          <a:off x="0" y="2775509"/>
          <a:ext cx="8085015" cy="1989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6699" tIns="39370" rIns="220472" bIns="39370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400" kern="1200" dirty="0"/>
            <a:t>AAMC PREview Essentials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400" kern="1200" dirty="0"/>
            <a:t>Test Day Experience Video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400" kern="1200" dirty="0"/>
            <a:t>Online Testing System Tutorial</a:t>
          </a: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2400" kern="1200" dirty="0"/>
            <a:t>PREview™ Nuts-n-Bolts: Scheduling and Taking the AAMC PREview™ Professional Readiness Exam Webinar</a:t>
          </a:r>
        </a:p>
      </dsp:txBody>
      <dsp:txXfrm>
        <a:off x="0" y="2775509"/>
        <a:ext cx="8085015" cy="198927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1301AC-5A39-4D3B-A064-9FB2117F2393}" type="datetimeFigureOut">
              <a:rPr lang="en-US" smtClean="0"/>
              <a:t>4/2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FD5FC1-9A21-44CD-AC7F-D01CE6A4CD3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9723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FD5FC1-9A21-44CD-AC7F-D01CE6A4CD3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04115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sz="12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FD5FC1-9A21-44CD-AC7F-D01CE6A4CD30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95619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825233-37C7-4EA0-914D-215BCF8766FC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09047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en-US" sz="1200" i="0" u="none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825233-37C7-4EA0-914D-215BCF8766FC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3137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825233-37C7-4EA0-914D-215BCF8766FC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910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825233-37C7-4EA0-914D-215BCF8766FC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1669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FD5FC1-9A21-44CD-AC7F-D01CE6A4CD30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04874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825233-37C7-4EA0-914D-215BCF8766FC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7913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825233-37C7-4EA0-914D-215BCF8766FC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03822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825233-37C7-4EA0-914D-215BCF8766FC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20902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825233-37C7-4EA0-914D-215BCF8766FC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7907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02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825233-37C7-4EA0-914D-215BCF8766FC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762566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FD5FC1-9A21-44CD-AC7F-D01CE6A4CD30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736614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825233-37C7-4EA0-914D-215BCF8766FC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788545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825233-37C7-4EA0-914D-215BCF8766FC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8536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9E680D-35C8-4BBD-9692-4886ED2E3958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885907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FD5FC1-9A21-44CD-AC7F-D01CE6A4CD30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91515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FD5FC1-9A21-44CD-AC7F-D01CE6A4CD30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881575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FD5FC1-9A21-44CD-AC7F-D01CE6A4CD30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35785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dirty="0"/>
              <a:t>You can access the PREview website and all of our contact information from this QR cod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D25CAF-F84D-4F48-8EED-38AAD0282902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00136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have some time for questions so let’s see if some have come i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FD5FC1-9A21-44CD-AC7F-D01CE6A4CD30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72800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02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825233-37C7-4EA0-914D-215BCF8766FC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207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fontAlgn="base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825233-37C7-4EA0-914D-215BCF8766FC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7171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825233-37C7-4EA0-914D-215BCF8766F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90510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825233-37C7-4EA0-914D-215BCF8766FC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59630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825233-37C7-4EA0-914D-215BCF8766FC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36381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825233-37C7-4EA0-914D-215BCF8766FC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43354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FD5FC1-9A21-44CD-AC7F-D01CE6A4CD30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82771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. This can be two lines but no more. Sentence case</a:t>
            </a:r>
          </a:p>
        </p:txBody>
      </p:sp>
    </p:spTree>
    <p:extLst>
      <p:ext uri="{BB962C8B-B14F-4D97-AF65-F5344CB8AC3E}">
        <p14:creationId xmlns:p14="http://schemas.microsoft.com/office/powerpoint/2010/main" val="14082234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769BD2-6B8A-7645-9BA0-813D0BC1EE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0904" y="365125"/>
            <a:ext cx="5511452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829D00-8CA3-8E4D-86FC-A5D7AABBB6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0904" y="1825625"/>
            <a:ext cx="5511452" cy="40616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321625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6200" y="63568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fld id="{DDD50E6B-6BC7-4456-9E9C-642BB5601B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274788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10580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275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FA5A53-7195-2240-8B40-D7A94F1890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578280"/>
            <a:ext cx="10515600" cy="2244160"/>
          </a:xfrm>
        </p:spPr>
        <p:txBody>
          <a:bodyPr anchor="b"/>
          <a:lstStyle>
            <a:lvl1pPr>
              <a:defRPr sz="6000">
                <a:solidFill>
                  <a:srgbClr val="4DBBC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71B66-5E75-4641-ADD1-9C95B8ECAE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3845491"/>
            <a:ext cx="10515600" cy="1434229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57412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769BD2-6B8A-7645-9BA0-813D0BC1E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829D00-8CA3-8E4D-86FC-A5D7AABBB6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91201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769BD2-6B8A-7645-9BA0-813D0BC1EE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829D00-8CA3-8E4D-86FC-A5D7AABBB6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39FC9AA-6EF6-FD4E-B67C-F322D168BA8B}"/>
              </a:ext>
            </a:extLst>
          </p:cNvPr>
          <p:cNvSpPr txBox="1"/>
          <p:nvPr userDrawn="1"/>
        </p:nvSpPr>
        <p:spPr>
          <a:xfrm>
            <a:off x="174320" y="6492875"/>
            <a:ext cx="491124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Association of American Medical Colleges</a:t>
            </a:r>
          </a:p>
        </p:txBody>
      </p:sp>
    </p:spTree>
    <p:extLst>
      <p:ext uri="{BB962C8B-B14F-4D97-AF65-F5344CB8AC3E}">
        <p14:creationId xmlns:p14="http://schemas.microsoft.com/office/powerpoint/2010/main" val="2959214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769BD2-6B8A-7645-9BA0-813D0BC1E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"/>
            <a:ext cx="4890370" cy="6858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“Click to edit Master title style”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829D00-8CA3-8E4D-86FC-A5D7AABBB6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63430" y="365125"/>
            <a:ext cx="4890370" cy="5811838"/>
          </a:xfrm>
        </p:spPr>
        <p:txBody>
          <a:bodyPr anchor="ctr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79A7E11-BC3B-0346-AF24-BF5B9291FD3F}"/>
              </a:ext>
            </a:extLst>
          </p:cNvPr>
          <p:cNvSpPr txBox="1"/>
          <p:nvPr userDrawn="1"/>
        </p:nvSpPr>
        <p:spPr>
          <a:xfrm>
            <a:off x="174320" y="6492875"/>
            <a:ext cx="491124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Association of American Medical Colleges</a:t>
            </a:r>
          </a:p>
        </p:txBody>
      </p:sp>
    </p:spTree>
    <p:extLst>
      <p:ext uri="{BB962C8B-B14F-4D97-AF65-F5344CB8AC3E}">
        <p14:creationId xmlns:p14="http://schemas.microsoft.com/office/powerpoint/2010/main" val="26602767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769BD2-6B8A-7645-9BA0-813D0BC1EE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0904" y="365125"/>
            <a:ext cx="5511452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829D00-8CA3-8E4D-86FC-A5D7AABBB6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0904" y="1825625"/>
            <a:ext cx="5511452" cy="40616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21379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769BD2-6B8A-7645-9BA0-813D0BC1EE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911247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829D00-8CA3-8E4D-86FC-A5D7AABBB6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911247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64026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31C746-A9D7-104F-AFD3-DC1DF9F1C4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065BD0-40F6-2046-927C-AEBADB42BB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9A7F892-AE90-6048-B8AE-D555B8C71204}"/>
              </a:ext>
            </a:extLst>
          </p:cNvPr>
          <p:cNvSpPr txBox="1"/>
          <p:nvPr userDrawn="1"/>
        </p:nvSpPr>
        <p:spPr>
          <a:xfrm>
            <a:off x="174320" y="6492875"/>
            <a:ext cx="491124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© Association of American Medical Colleges</a:t>
            </a:r>
          </a:p>
        </p:txBody>
      </p:sp>
    </p:spTree>
    <p:extLst>
      <p:ext uri="{BB962C8B-B14F-4D97-AF65-F5344CB8AC3E}">
        <p14:creationId xmlns:p14="http://schemas.microsoft.com/office/powerpoint/2010/main" val="3019431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649" r:id="rId2"/>
    <p:sldLayoutId id="2147483660" r:id="rId3"/>
    <p:sldLayoutId id="2147483651" r:id="rId4"/>
    <p:sldLayoutId id="2147483650" r:id="rId5"/>
    <p:sldLayoutId id="2147483665" r:id="rId6"/>
    <p:sldLayoutId id="2147483664" r:id="rId7"/>
    <p:sldLayoutId id="2147483661" r:id="rId8"/>
    <p:sldLayoutId id="2147483663" r:id="rId9"/>
    <p:sldLayoutId id="2147483662" r:id="rId10"/>
    <p:sldLayoutId id="214748366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4DBBC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6.svg"/><Relationship Id="rId5" Type="http://schemas.openxmlformats.org/officeDocument/2006/relationships/image" Target="../media/image25.png"/><Relationship Id="rId10" Type="http://schemas.openxmlformats.org/officeDocument/2006/relationships/image" Target="../media/image30.svg"/><Relationship Id="rId4" Type="http://schemas.openxmlformats.org/officeDocument/2006/relationships/image" Target="../media/image24.svg"/><Relationship Id="rId9" Type="http://schemas.openxmlformats.org/officeDocument/2006/relationships/image" Target="../media/image2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0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4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8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142B3D-B7E4-8D43-A15C-AE0131B00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84840"/>
            <a:ext cx="10770704" cy="2244160"/>
          </a:xfrm>
        </p:spPr>
        <p:txBody>
          <a:bodyPr>
            <a:no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Ready, Set, Test: 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sz="3600" dirty="0">
                <a:solidFill>
                  <a:schemeClr val="bg1"/>
                </a:solidFill>
              </a:rPr>
              <a:t>Tips on Preparing for the AAMC PREview</a:t>
            </a:r>
            <a:r>
              <a:rPr lang="en-US" sz="3600" baseline="30000" dirty="0">
                <a:solidFill>
                  <a:schemeClr val="bg1"/>
                </a:solidFill>
              </a:rPr>
              <a:t>TM</a:t>
            </a:r>
            <a:r>
              <a:rPr lang="en-US" sz="3600" dirty="0">
                <a:solidFill>
                  <a:schemeClr val="bg1"/>
                </a:solidFill>
              </a:rPr>
              <a:t> Exa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6CB45B-4438-4C46-AAE9-1624E17541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3510478"/>
            <a:ext cx="10515600" cy="1434229"/>
          </a:xfrm>
        </p:spPr>
        <p:txBody>
          <a:bodyPr>
            <a:normAutofit fontScale="92500" lnSpcReduction="20000"/>
          </a:bodyPr>
          <a:lstStyle/>
          <a:p>
            <a:endParaRPr lang="en-US" baseline="30000" dirty="0"/>
          </a:p>
          <a:p>
            <a:r>
              <a:rPr lang="en-US" dirty="0"/>
              <a:t>Lisa Peters, Director, Test Operations</a:t>
            </a:r>
          </a:p>
          <a:p>
            <a:r>
              <a:rPr lang="en-US" dirty="0"/>
              <a:t>Thomas Geiger, </a:t>
            </a:r>
            <a:r>
              <a:rPr lang="en-US" b="0" i="0" dirty="0">
                <a:solidFill>
                  <a:srgbClr val="FFFFFF"/>
                </a:solidFill>
                <a:effectLst/>
                <a:latin typeface="Roboto" panose="02000000000000000000" pitchFamily="2" charset="0"/>
              </a:rPr>
              <a:t>Manager, PREview Content Development</a:t>
            </a:r>
            <a:endParaRPr lang="en-US" dirty="0"/>
          </a:p>
          <a:p>
            <a:r>
              <a:rPr lang="en-US" dirty="0"/>
              <a:t>March 28, 2023</a:t>
            </a:r>
          </a:p>
        </p:txBody>
      </p:sp>
    </p:spTree>
    <p:extLst>
      <p:ext uri="{BB962C8B-B14F-4D97-AF65-F5344CB8AC3E}">
        <p14:creationId xmlns:p14="http://schemas.microsoft.com/office/powerpoint/2010/main" val="27037770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6CADA0-1B15-4EF5-8FE3-4DE34BD3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39A6B1"/>
                </a:solidFill>
              </a:rPr>
              <a:t>Read the Full Definitions of the Core Competenci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E326E0F-7EE5-4599-A5E6-283DB82912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7276" y="1602901"/>
            <a:ext cx="5574412" cy="5137109"/>
          </a:xfrm>
          <a:prstGeom prst="rect">
            <a:avLst/>
          </a:prstGeom>
        </p:spPr>
      </p:pic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8F6D58E4-BABF-4F9D-9348-F39B2494F3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1588" y="1602901"/>
            <a:ext cx="4571860" cy="457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1343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E1FC6F-BB96-4A2D-88F8-B637D6C7F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8930" y="736186"/>
            <a:ext cx="11048999" cy="1325563"/>
          </a:xfrm>
        </p:spPr>
        <p:txBody>
          <a:bodyPr>
            <a:normAutofit/>
          </a:bodyPr>
          <a:lstStyle/>
          <a:p>
            <a:r>
              <a:rPr lang="en-US" sz="4000" dirty="0">
                <a:solidFill>
                  <a:srgbClr val="39A6B1"/>
                </a:solidFill>
              </a:rPr>
              <a:t>Practice with the Free AAMC PREview™ Exam Practice Exam Bookle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6C1B62-DB43-49C5-945D-CA445DF3FC05}"/>
              </a:ext>
            </a:extLst>
          </p:cNvPr>
          <p:cNvSpPr txBox="1"/>
          <p:nvPr/>
        </p:nvSpPr>
        <p:spPr>
          <a:xfrm>
            <a:off x="860485" y="2574025"/>
            <a:ext cx="349034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9A6B1"/>
                </a:solidFill>
              </a:rPr>
              <a:t>Full-Length Ex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9A6B1"/>
                </a:solidFill>
              </a:rPr>
              <a:t>Scoring Ke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39A6B1"/>
                </a:solidFill>
              </a:rPr>
              <a:t>Answer Rationa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D8AC79-3D12-4F6F-AC21-46C996AE16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4682" y="1691014"/>
            <a:ext cx="4735039" cy="4903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5095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D006994-5858-435D-BEDB-E8C88F2743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5311" y="946991"/>
            <a:ext cx="5377465" cy="4053781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2CD2E7B-A6F7-43C5-AAC2-D52E6EB723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97131" y="1480975"/>
            <a:ext cx="1947488" cy="1879046"/>
          </a:xfrm>
          <a:prstGeom prst="rect">
            <a:avLst/>
          </a:prstGeom>
          <a:ln w="19050">
            <a:solidFill>
              <a:schemeClr val="accent5"/>
            </a:solidFill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ADF63FD-95AD-4D82-AE3C-A9A7DF8C9B33}"/>
              </a:ext>
            </a:extLst>
          </p:cNvPr>
          <p:cNvSpPr/>
          <p:nvPr/>
        </p:nvSpPr>
        <p:spPr bwMode="auto">
          <a:xfrm>
            <a:off x="2151611" y="2420498"/>
            <a:ext cx="5489291" cy="685800"/>
          </a:xfrm>
          <a:prstGeom prst="rect">
            <a:avLst/>
          </a:prstGeom>
          <a:noFill/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/>
            <a:endParaRPr lang="en-US" sz="1500" dirty="0">
              <a:solidFill>
                <a:srgbClr val="092F6D"/>
              </a:solidFill>
              <a:latin typeface="Arial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0C01EAD-B9C8-4872-ACC9-F99D7C72F3CF}"/>
              </a:ext>
            </a:extLst>
          </p:cNvPr>
          <p:cNvSpPr/>
          <p:nvPr/>
        </p:nvSpPr>
        <p:spPr bwMode="auto">
          <a:xfrm>
            <a:off x="8013015" y="1687647"/>
            <a:ext cx="1715720" cy="328111"/>
          </a:xfrm>
          <a:prstGeom prst="rect">
            <a:avLst/>
          </a:prstGeom>
          <a:noFill/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/>
            <a:endParaRPr lang="en-US" sz="1500" dirty="0">
              <a:solidFill>
                <a:srgbClr val="092F6D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9962703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C3B5513-FA12-4C53-BA5F-34BAF87356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1893" y="1043695"/>
            <a:ext cx="5377465" cy="4053781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A8927C9-737F-4996-B86E-EBFDC668EDE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89673" y="1191540"/>
            <a:ext cx="1947488" cy="1879046"/>
          </a:xfrm>
          <a:prstGeom prst="rect">
            <a:avLst/>
          </a:prstGeom>
          <a:ln w="19050">
            <a:solidFill>
              <a:schemeClr val="accent5"/>
            </a:solidFill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0287F69-4AF0-412D-B1F0-4D0F488A4692}"/>
              </a:ext>
            </a:extLst>
          </p:cNvPr>
          <p:cNvSpPr/>
          <p:nvPr/>
        </p:nvSpPr>
        <p:spPr bwMode="auto">
          <a:xfrm>
            <a:off x="1878193" y="2517202"/>
            <a:ext cx="5489291" cy="685800"/>
          </a:xfrm>
          <a:prstGeom prst="rect">
            <a:avLst/>
          </a:prstGeom>
          <a:noFill/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/>
            <a:endParaRPr lang="en-US" sz="1500" dirty="0">
              <a:solidFill>
                <a:srgbClr val="092F6D"/>
              </a:solidFill>
              <a:latin typeface="Arial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C87E6E9-E8D2-47E8-9036-5553AAFF650C}"/>
              </a:ext>
            </a:extLst>
          </p:cNvPr>
          <p:cNvSpPr/>
          <p:nvPr/>
        </p:nvSpPr>
        <p:spPr bwMode="auto">
          <a:xfrm>
            <a:off x="7705557" y="1398212"/>
            <a:ext cx="1715720" cy="328111"/>
          </a:xfrm>
          <a:prstGeom prst="rect">
            <a:avLst/>
          </a:prstGeom>
          <a:noFill/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/>
            <a:endParaRPr lang="en-US" sz="1500" dirty="0">
              <a:solidFill>
                <a:srgbClr val="092F6D"/>
              </a:solidFill>
              <a:latin typeface="Arial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BD15EB7-95AA-4BCD-9BC3-A898CDC09740}"/>
              </a:ext>
            </a:extLst>
          </p:cNvPr>
          <p:cNvSpPr/>
          <p:nvPr/>
        </p:nvSpPr>
        <p:spPr bwMode="auto">
          <a:xfrm>
            <a:off x="4564443" y="3516547"/>
            <a:ext cx="5489291" cy="1340055"/>
          </a:xfrm>
          <a:prstGeom prst="rect">
            <a:avLst/>
          </a:prstGeom>
          <a:solidFill>
            <a:schemeClr val="tx1"/>
          </a:solidFill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/>
            <a:endParaRPr lang="en-US" sz="1500" dirty="0">
              <a:solidFill>
                <a:srgbClr val="092F6D"/>
              </a:solidFill>
              <a:latin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F61108D-909B-46C6-B1EE-4D82AF6E5DD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48516"/>
          <a:stretch/>
        </p:blipFill>
        <p:spPr>
          <a:xfrm>
            <a:off x="4786632" y="3618576"/>
            <a:ext cx="5044913" cy="1135997"/>
          </a:xfrm>
          <a:prstGeom prst="rect">
            <a:avLst/>
          </a:prstGeom>
          <a:ln>
            <a:solidFill>
              <a:schemeClr val="accent2"/>
            </a:solidFill>
          </a:ln>
        </p:spPr>
      </p:pic>
    </p:spTree>
    <p:extLst>
      <p:ext uri="{BB962C8B-B14F-4D97-AF65-F5344CB8AC3E}">
        <p14:creationId xmlns:p14="http://schemas.microsoft.com/office/powerpoint/2010/main" val="4203266202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D495945D-41C2-4E0F-8AE0-C479BBD24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68778"/>
            <a:ext cx="10515600" cy="805118"/>
          </a:xfrm>
        </p:spPr>
        <p:txBody>
          <a:bodyPr>
            <a:normAutofit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Preparing for Test Day</a:t>
            </a:r>
          </a:p>
        </p:txBody>
      </p:sp>
    </p:spTree>
    <p:extLst>
      <p:ext uri="{BB962C8B-B14F-4D97-AF65-F5344CB8AC3E}">
        <p14:creationId xmlns:p14="http://schemas.microsoft.com/office/powerpoint/2010/main" val="11236609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39A6B1"/>
                </a:solidFill>
              </a:rPr>
              <a:t>Get Ready to Test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47BE0ED-4954-4617-8E1D-F074CE23D937}"/>
              </a:ext>
            </a:extLst>
          </p:cNvPr>
          <p:cNvGrpSpPr/>
          <p:nvPr/>
        </p:nvGrpSpPr>
        <p:grpSpPr>
          <a:xfrm>
            <a:off x="624277" y="2294585"/>
            <a:ext cx="2345670" cy="2969073"/>
            <a:chOff x="624277" y="2294585"/>
            <a:chExt cx="2345670" cy="2969073"/>
          </a:xfrm>
        </p:grpSpPr>
        <p:sp>
          <p:nvSpPr>
            <p:cNvPr id="4" name="Rectangle 3"/>
            <p:cNvSpPr/>
            <p:nvPr/>
          </p:nvSpPr>
          <p:spPr>
            <a:xfrm>
              <a:off x="624277" y="2294585"/>
              <a:ext cx="2345670" cy="296907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838200" y="3522541"/>
              <a:ext cx="1892174" cy="914400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nfirm you meet the basic requirements 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CC18D20A-0283-4932-8B14-2D7339961A2B}"/>
                </a:ext>
              </a:extLst>
            </p:cNvPr>
            <p:cNvSpPr/>
            <p:nvPr/>
          </p:nvSpPr>
          <p:spPr>
            <a:xfrm>
              <a:off x="851025" y="2434944"/>
              <a:ext cx="1892174" cy="914400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ep 1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C95B7E9-4A1E-4F22-B6B9-027D7A1C4C04}"/>
              </a:ext>
            </a:extLst>
          </p:cNvPr>
          <p:cNvGrpSpPr/>
          <p:nvPr/>
        </p:nvGrpSpPr>
        <p:grpSpPr>
          <a:xfrm>
            <a:off x="3185402" y="2294585"/>
            <a:ext cx="2345670" cy="2969073"/>
            <a:chOff x="3185402" y="2294585"/>
            <a:chExt cx="2345670" cy="2969073"/>
          </a:xfrm>
        </p:grpSpPr>
        <p:sp>
          <p:nvSpPr>
            <p:cNvPr id="5" name="Rectangle 4"/>
            <p:cNvSpPr/>
            <p:nvPr/>
          </p:nvSpPr>
          <p:spPr>
            <a:xfrm>
              <a:off x="3185402" y="2294585"/>
              <a:ext cx="2345670" cy="2969073"/>
            </a:xfrm>
            <a:prstGeom prst="rect">
              <a:avLst/>
            </a:prstGeom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3412151" y="3522541"/>
              <a:ext cx="1892174" cy="914400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est your Computer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B27BC38E-17F9-414B-9719-A534B28B52D6}"/>
                </a:ext>
              </a:extLst>
            </p:cNvPr>
            <p:cNvSpPr/>
            <p:nvPr/>
          </p:nvSpPr>
          <p:spPr>
            <a:xfrm>
              <a:off x="3412150" y="2431174"/>
              <a:ext cx="1892174" cy="914400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ep 2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E033314-3339-4059-99E7-B5CDD786BEF8}"/>
              </a:ext>
            </a:extLst>
          </p:cNvPr>
          <p:cNvGrpSpPr/>
          <p:nvPr/>
        </p:nvGrpSpPr>
        <p:grpSpPr>
          <a:xfrm>
            <a:off x="5736367" y="2294585"/>
            <a:ext cx="2345670" cy="2969073"/>
            <a:chOff x="5736367" y="2294585"/>
            <a:chExt cx="2345670" cy="2969073"/>
          </a:xfrm>
        </p:grpSpPr>
        <p:sp>
          <p:nvSpPr>
            <p:cNvPr id="6" name="Rectangle 5"/>
            <p:cNvSpPr/>
            <p:nvPr/>
          </p:nvSpPr>
          <p:spPr>
            <a:xfrm>
              <a:off x="5736367" y="2294585"/>
              <a:ext cx="2345670" cy="296907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5963116" y="3522541"/>
              <a:ext cx="1892174" cy="914400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/>
                <a:t>Get to know the testing platform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2811DB22-C0E7-4676-96CD-E77DADDBEF73}"/>
                </a:ext>
              </a:extLst>
            </p:cNvPr>
            <p:cNvSpPr/>
            <p:nvPr/>
          </p:nvSpPr>
          <p:spPr>
            <a:xfrm>
              <a:off x="5947817" y="2453000"/>
              <a:ext cx="1892174" cy="914400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ep 3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580B7A5-0665-486A-91DC-854262349554}"/>
              </a:ext>
            </a:extLst>
          </p:cNvPr>
          <p:cNvGrpSpPr/>
          <p:nvPr/>
        </p:nvGrpSpPr>
        <p:grpSpPr>
          <a:xfrm>
            <a:off x="8277173" y="2294585"/>
            <a:ext cx="2345670" cy="2969073"/>
            <a:chOff x="8277173" y="2294585"/>
            <a:chExt cx="2345670" cy="2969073"/>
          </a:xfrm>
        </p:grpSpPr>
        <p:sp>
          <p:nvSpPr>
            <p:cNvPr id="7" name="Rectangle 6"/>
            <p:cNvSpPr/>
            <p:nvPr/>
          </p:nvSpPr>
          <p:spPr>
            <a:xfrm>
              <a:off x="8277173" y="2294585"/>
              <a:ext cx="2345670" cy="2969073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8527739" y="3522541"/>
              <a:ext cx="1892174" cy="914400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dirty="0"/>
                <a:t>Get familiar with remote testing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C483A7EE-2D47-4C0B-97F5-9A37807477EC}"/>
                </a:ext>
              </a:extLst>
            </p:cNvPr>
            <p:cNvSpPr/>
            <p:nvPr/>
          </p:nvSpPr>
          <p:spPr>
            <a:xfrm>
              <a:off x="8503921" y="2453000"/>
              <a:ext cx="1892174" cy="914400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tep 4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7955237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3D74194-673D-44C7-831D-3B8D0399D7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>
                <a:solidFill>
                  <a:srgbClr val="39A6B1"/>
                </a:solidFill>
              </a:rPr>
              <a:t>Confirm You Meet the Basic Requirement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4861A62D-D900-417E-9FB4-1EA66F40B880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774700" y="1336054"/>
          <a:ext cx="10650538" cy="47894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8800900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A88002-5FCE-49BE-9A76-EFDDE7D300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>
                <a:solidFill>
                  <a:srgbClr val="39A6B1"/>
                </a:solidFill>
              </a:rPr>
              <a:t>Access the PREview Portal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20842D-37FA-4296-A014-8EB19318BA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5C73C94-08C9-4D34-BB2B-810AEED064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1907" y="1536301"/>
            <a:ext cx="7519737" cy="4615388"/>
          </a:xfrm>
          <a:prstGeom prst="rect">
            <a:avLst/>
          </a:prstGeom>
        </p:spPr>
      </p:pic>
      <p:pic>
        <p:nvPicPr>
          <p:cNvPr id="10" name="Graphic 9" descr="Cursor with solid fill">
            <a:extLst>
              <a:ext uri="{FF2B5EF4-FFF2-40B4-BE49-F238E27FC236}">
                <a16:creationId xmlns:a16="http://schemas.microsoft.com/office/drawing/2014/main" id="{A454E994-8441-4B0C-A76D-6CB0A41F19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27565" y="3911856"/>
            <a:ext cx="1495367" cy="1495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9562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8FF1949-65DD-4AAD-B9C5-6F22618CE46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735015" y="1332999"/>
            <a:ext cx="7248890" cy="486546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3DF2DF8-DB92-4507-BA84-CC958AB773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>
                <a:solidFill>
                  <a:srgbClr val="39A6B1"/>
                </a:solidFill>
              </a:rPr>
              <a:t>Test Your Equipment</a:t>
            </a:r>
          </a:p>
        </p:txBody>
      </p:sp>
      <p:pic>
        <p:nvPicPr>
          <p:cNvPr id="13" name="Graphic 12" descr="Cursor with solid fill">
            <a:extLst>
              <a:ext uri="{FF2B5EF4-FFF2-40B4-BE49-F238E27FC236}">
                <a16:creationId xmlns:a16="http://schemas.microsoft.com/office/drawing/2014/main" id="{25F1131C-2A3A-4E51-9C65-421D43DEDD6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0141108">
            <a:off x="4651176" y="5413175"/>
            <a:ext cx="1243905" cy="1243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9958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FBEC7DE-C0A6-4801-A111-D22AB512A03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735015" y="1332999"/>
            <a:ext cx="7248890" cy="486546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3DF2DF8-DB92-4507-BA84-CC958AB773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>
                <a:solidFill>
                  <a:srgbClr val="39A6B1"/>
                </a:solidFill>
              </a:rPr>
              <a:t>Become Familiar with the Testing Platform</a:t>
            </a:r>
          </a:p>
        </p:txBody>
      </p:sp>
      <p:pic>
        <p:nvPicPr>
          <p:cNvPr id="13" name="Graphic 12" descr="Cursor with solid fill">
            <a:extLst>
              <a:ext uri="{FF2B5EF4-FFF2-40B4-BE49-F238E27FC236}">
                <a16:creationId xmlns:a16="http://schemas.microsoft.com/office/drawing/2014/main" id="{25F1131C-2A3A-4E51-9C65-421D43DEDD6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0141108">
            <a:off x="7641836" y="3814275"/>
            <a:ext cx="1243905" cy="1243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4076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39A6B1"/>
                </a:solidFill>
              </a:rPr>
              <a:t>What We’ll Cov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4700" y="1690688"/>
            <a:ext cx="10651067" cy="4182988"/>
          </a:xfrm>
        </p:spPr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An Introduction to the PREview Exam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Preparing for the Exam</a:t>
            </a:r>
          </a:p>
          <a:p>
            <a:pPr marL="914400" lvl="1" indent="-457200"/>
            <a:r>
              <a:rPr lang="en-US" dirty="0"/>
              <a:t>Learn the Structure and Format of the Exam</a:t>
            </a:r>
          </a:p>
          <a:p>
            <a:pPr marL="914400" lvl="1" indent="-457200"/>
            <a:r>
              <a:rPr lang="en-US" dirty="0"/>
              <a:t>Using </a:t>
            </a:r>
            <a:r>
              <a:rPr lang="en-US" dirty="0" err="1"/>
              <a:t>PREview</a:t>
            </a:r>
            <a:r>
              <a:rPr lang="en-US" dirty="0"/>
              <a:t> Preparation Resourc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Preparing for Test Da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Accessing Available Resourc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6391286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1086C0-34BA-41C2-83C5-AE78734943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>
                <a:solidFill>
                  <a:srgbClr val="39A6B1"/>
                </a:solidFill>
              </a:rPr>
              <a:t>Become Familiar with Remote Proctoring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9A1740FE-9ADA-450A-8D2C-A95E3C02EAD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747862" y="1690688"/>
            <a:ext cx="6468005" cy="3853280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9F63C63-C67A-47AD-9B08-6EE8344A3F04}"/>
              </a:ext>
            </a:extLst>
          </p:cNvPr>
          <p:cNvSpPr txBox="1"/>
          <p:nvPr/>
        </p:nvSpPr>
        <p:spPr>
          <a:xfrm>
            <a:off x="976133" y="1673719"/>
            <a:ext cx="363379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0" i="0" dirty="0">
                <a:solidFill>
                  <a:srgbClr val="1A2E3B"/>
                </a:solidFill>
                <a:effectLst/>
                <a:latin typeface="Helvetica Neue"/>
              </a:rPr>
              <a:t>This video is designed to help you become familiar with the activities that will take place when logging into and taking the AAMC PREview exam</a:t>
            </a:r>
          </a:p>
          <a:p>
            <a:endParaRPr lang="en-US" sz="2000" b="0" i="0" dirty="0">
              <a:solidFill>
                <a:srgbClr val="1A2E3B"/>
              </a:solidFill>
              <a:effectLst/>
              <a:latin typeface="Helvetica Neu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A2E3B"/>
                </a:solidFill>
                <a:effectLst/>
                <a:latin typeface="Helvetica Neue"/>
              </a:rPr>
              <a:t>Check-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A2E3B"/>
                </a:solidFill>
                <a:effectLst/>
                <a:latin typeface="Helvetica Neue"/>
              </a:rPr>
              <a:t>Remote Procto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A2E3B"/>
                </a:solidFill>
                <a:effectLst/>
                <a:latin typeface="Helvetica Neue"/>
              </a:rPr>
              <a:t>Exam </a:t>
            </a:r>
            <a:r>
              <a:rPr lang="en-US" sz="2000" dirty="0">
                <a:solidFill>
                  <a:srgbClr val="1A2E3B"/>
                </a:solidFill>
                <a:latin typeface="Helvetica Neue"/>
              </a:rPr>
              <a:t>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A2E3B"/>
                </a:solidFill>
                <a:latin typeface="Helvetica Neue"/>
              </a:rPr>
              <a:t>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A2E3B"/>
                </a:solidFill>
                <a:effectLst/>
                <a:latin typeface="Helvetica Neue"/>
              </a:rPr>
              <a:t>Submi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A2E3B"/>
                </a:solidFill>
                <a:latin typeface="Helvetica Neue"/>
              </a:rPr>
              <a:t>Check-out</a:t>
            </a:r>
          </a:p>
        </p:txBody>
      </p:sp>
    </p:spTree>
    <p:extLst>
      <p:ext uri="{BB962C8B-B14F-4D97-AF65-F5344CB8AC3E}">
        <p14:creationId xmlns:p14="http://schemas.microsoft.com/office/powerpoint/2010/main" val="11962836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D495945D-41C2-4E0F-8AE0-C479BBD24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168778"/>
            <a:ext cx="10515600" cy="805118"/>
          </a:xfrm>
        </p:spPr>
        <p:txBody>
          <a:bodyPr>
            <a:normAutofit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Accessing Available Resources</a:t>
            </a:r>
          </a:p>
        </p:txBody>
      </p:sp>
    </p:spTree>
    <p:extLst>
      <p:ext uri="{BB962C8B-B14F-4D97-AF65-F5344CB8AC3E}">
        <p14:creationId xmlns:p14="http://schemas.microsoft.com/office/powerpoint/2010/main" val="443052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A2E670-6CA0-486B-8CFD-0CE3008956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>
                <a:solidFill>
                  <a:srgbClr val="39A6B1"/>
                </a:solidFill>
              </a:rPr>
              <a:t>Access Free AAMC Preparation Resources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760FADF8-4AEB-4EA5-8FE2-5B092B9BBC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3465711"/>
              </p:ext>
            </p:extLst>
          </p:nvPr>
        </p:nvGraphicFramePr>
        <p:xfrm>
          <a:off x="2032000" y="1336430"/>
          <a:ext cx="8085015" cy="48019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6727261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1">
            <a:extLst>
              <a:ext uri="{FF2B5EF4-FFF2-40B4-BE49-F238E27FC236}">
                <a16:creationId xmlns:a16="http://schemas.microsoft.com/office/drawing/2014/main" id="{700AF302-D9CC-498B-FB37-F99991F2AF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795" y="507698"/>
            <a:ext cx="10976330" cy="1325563"/>
          </a:xfrm>
        </p:spPr>
        <p:txBody>
          <a:bodyPr>
            <a:normAutofit/>
          </a:bodyPr>
          <a:lstStyle/>
          <a:p>
            <a:r>
              <a:rPr lang="en-US" sz="3600" dirty="0"/>
              <a:t>&gt;80% of Applicants Will be Asked to take the Exam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8FE47E7-42BA-EA4B-2054-E0CD11ABFAB7}"/>
              </a:ext>
            </a:extLst>
          </p:cNvPr>
          <p:cNvSpPr/>
          <p:nvPr/>
        </p:nvSpPr>
        <p:spPr>
          <a:xfrm>
            <a:off x="0" y="5917648"/>
            <a:ext cx="3651690" cy="91440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EFF5B82-833F-C517-198B-618B15E86A01}"/>
              </a:ext>
            </a:extLst>
          </p:cNvPr>
          <p:cNvGrpSpPr/>
          <p:nvPr/>
        </p:nvGrpSpPr>
        <p:grpSpPr>
          <a:xfrm>
            <a:off x="3185781" y="3063479"/>
            <a:ext cx="2230572" cy="1408372"/>
            <a:chOff x="3180826" y="3164269"/>
            <a:chExt cx="1558267" cy="1001470"/>
          </a:xfrm>
        </p:grpSpPr>
        <p:pic>
          <p:nvPicPr>
            <p:cNvPr id="9" name="Graphic 8" descr="Thumbs up sign with solid fill">
              <a:extLst>
                <a:ext uri="{FF2B5EF4-FFF2-40B4-BE49-F238E27FC236}">
                  <a16:creationId xmlns:a16="http://schemas.microsoft.com/office/drawing/2014/main" id="{12FCDC9D-0AC5-4509-A279-BCDABFA615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80826" y="3164269"/>
              <a:ext cx="852536" cy="865634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233C038-FF50-FEFF-D7E6-909C928CE48C}"/>
                </a:ext>
              </a:extLst>
            </p:cNvPr>
            <p:cNvSpPr/>
            <p:nvPr/>
          </p:nvSpPr>
          <p:spPr>
            <a:xfrm>
              <a:off x="3824693" y="3251339"/>
              <a:ext cx="914400" cy="9144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Verdana" panose="020B0604030504040204" pitchFamily="34" charset="0"/>
                </a:rPr>
                <a:t>11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EE24AF3A-DFE2-16A5-35F9-22DE77EA3FD2}"/>
              </a:ext>
            </a:extLst>
          </p:cNvPr>
          <p:cNvGrpSpPr/>
          <p:nvPr/>
        </p:nvGrpSpPr>
        <p:grpSpPr>
          <a:xfrm>
            <a:off x="8689168" y="3067103"/>
            <a:ext cx="2128382" cy="1362215"/>
            <a:chOff x="8977760" y="3286269"/>
            <a:chExt cx="1486878" cy="968649"/>
          </a:xfrm>
        </p:grpSpPr>
        <p:pic>
          <p:nvPicPr>
            <p:cNvPr id="8" name="Graphic 7" descr="Research with solid fill">
              <a:extLst>
                <a:ext uri="{FF2B5EF4-FFF2-40B4-BE49-F238E27FC236}">
                  <a16:creationId xmlns:a16="http://schemas.microsoft.com/office/drawing/2014/main" id="{9377D263-75C8-808A-3E22-DD46B1BC5B1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977760" y="3326469"/>
              <a:ext cx="914401" cy="928449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739AC0A-C824-0B5C-FCAA-46B9CCC59627}"/>
                </a:ext>
              </a:extLst>
            </p:cNvPr>
            <p:cNvSpPr/>
            <p:nvPr/>
          </p:nvSpPr>
          <p:spPr>
            <a:xfrm>
              <a:off x="9550238" y="3286269"/>
              <a:ext cx="914400" cy="9144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Verdana" panose="020B0604030504040204" pitchFamily="34" charset="0"/>
                </a:rPr>
                <a:t>16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A63951F5-2AC6-62ED-6882-16188710C32C}"/>
              </a:ext>
            </a:extLst>
          </p:cNvPr>
          <p:cNvGrpSpPr/>
          <p:nvPr/>
        </p:nvGrpSpPr>
        <p:grpSpPr>
          <a:xfrm>
            <a:off x="5623373" y="3072034"/>
            <a:ext cx="2186808" cy="1352352"/>
            <a:chOff x="5832201" y="3203069"/>
            <a:chExt cx="1527692" cy="961635"/>
          </a:xfrm>
        </p:grpSpPr>
        <p:pic>
          <p:nvPicPr>
            <p:cNvPr id="4" name="Graphic 3" descr="Signpost with solid fill">
              <a:extLst>
                <a:ext uri="{FF2B5EF4-FFF2-40B4-BE49-F238E27FC236}">
                  <a16:creationId xmlns:a16="http://schemas.microsoft.com/office/drawing/2014/main" id="{0CA43987-4495-9856-7DEB-4B90FCF8B10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5832201" y="3250304"/>
              <a:ext cx="914400" cy="914400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1A25CB7-BC47-FA99-C441-34F04A4F0D3D}"/>
                </a:ext>
              </a:extLst>
            </p:cNvPr>
            <p:cNvSpPr/>
            <p:nvPr/>
          </p:nvSpPr>
          <p:spPr>
            <a:xfrm>
              <a:off x="6445493" y="3203069"/>
              <a:ext cx="914400" cy="9144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Verdana" panose="020B0604030504040204" pitchFamily="34" charset="0"/>
                </a:rPr>
                <a:t>2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E7D4164-C0E8-1DE5-9E8B-0D123E3C8AF2}"/>
              </a:ext>
            </a:extLst>
          </p:cNvPr>
          <p:cNvGrpSpPr/>
          <p:nvPr/>
        </p:nvGrpSpPr>
        <p:grpSpPr>
          <a:xfrm>
            <a:off x="809662" y="2952502"/>
            <a:ext cx="2258314" cy="1630326"/>
            <a:chOff x="863842" y="3118655"/>
            <a:chExt cx="1577647" cy="1159298"/>
          </a:xfrm>
        </p:grpSpPr>
        <p:pic>
          <p:nvPicPr>
            <p:cNvPr id="11" name="Graphic 10" descr="Checkbox Checked with solid fill">
              <a:extLst>
                <a:ext uri="{FF2B5EF4-FFF2-40B4-BE49-F238E27FC236}">
                  <a16:creationId xmlns:a16="http://schemas.microsoft.com/office/drawing/2014/main" id="{C0AD2297-E5BD-6D84-F5F6-61E5C0052A5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63842" y="3118655"/>
              <a:ext cx="1141758" cy="1159298"/>
            </a:xfrm>
            <a:prstGeom prst="rect">
              <a:avLst/>
            </a:prstGeom>
          </p:spPr>
        </p:pic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26DA019-5CE8-777A-C2B7-1010234066D4}"/>
                </a:ext>
              </a:extLst>
            </p:cNvPr>
            <p:cNvSpPr/>
            <p:nvPr/>
          </p:nvSpPr>
          <p:spPr>
            <a:xfrm>
              <a:off x="1527089" y="3241104"/>
              <a:ext cx="914400" cy="9144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Verdana" panose="020B0604030504040204" pitchFamily="34" charset="0"/>
                </a:rPr>
                <a:t>9</a:t>
              </a: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B6F4A62E-D5EA-F1DD-2B8E-190E3399DA81}"/>
              </a:ext>
            </a:extLst>
          </p:cNvPr>
          <p:cNvSpPr/>
          <p:nvPr/>
        </p:nvSpPr>
        <p:spPr>
          <a:xfrm>
            <a:off x="0" y="5930900"/>
            <a:ext cx="3651690" cy="914400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FE239CC-542A-CF3A-1272-A50F174E3620}"/>
              </a:ext>
            </a:extLst>
          </p:cNvPr>
          <p:cNvSpPr txBox="1"/>
          <p:nvPr/>
        </p:nvSpPr>
        <p:spPr>
          <a:xfrm>
            <a:off x="967563" y="6156387"/>
            <a:ext cx="100052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Numbers reflect participating schools as of 3/21. Additional schools may decide to participate through April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22F0FF5-083F-4DD5-48C0-48A0BF7A75FF}"/>
              </a:ext>
            </a:extLst>
          </p:cNvPr>
          <p:cNvSpPr txBox="1"/>
          <p:nvPr/>
        </p:nvSpPr>
        <p:spPr>
          <a:xfrm>
            <a:off x="612939" y="2724261"/>
            <a:ext cx="2651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+mj-lt"/>
              </a:rPr>
              <a:t>Require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3F13BC6-7DF6-122B-342C-A727C7C22C33}"/>
              </a:ext>
            </a:extLst>
          </p:cNvPr>
          <p:cNvSpPr txBox="1"/>
          <p:nvPr/>
        </p:nvSpPr>
        <p:spPr>
          <a:xfrm>
            <a:off x="2975187" y="2704968"/>
            <a:ext cx="2651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+mj-lt"/>
              </a:rPr>
              <a:t>Recommended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5A358AA-555A-2CB7-15EA-7F94926F0D5C}"/>
              </a:ext>
            </a:extLst>
          </p:cNvPr>
          <p:cNvSpPr txBox="1"/>
          <p:nvPr/>
        </p:nvSpPr>
        <p:spPr>
          <a:xfrm>
            <a:off x="5390897" y="2685513"/>
            <a:ext cx="2651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+mj-lt"/>
              </a:rPr>
              <a:t>SJT Require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C053AEC-C6DC-D3AB-CF88-39D85CEE4170}"/>
              </a:ext>
            </a:extLst>
          </p:cNvPr>
          <p:cNvSpPr txBox="1"/>
          <p:nvPr/>
        </p:nvSpPr>
        <p:spPr>
          <a:xfrm>
            <a:off x="8427479" y="2666058"/>
            <a:ext cx="2651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latin typeface="+mj-lt"/>
              </a:rPr>
              <a:t>Research Only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DDEFDEB5-D945-A887-5850-AAC54FCF639D}"/>
              </a:ext>
            </a:extLst>
          </p:cNvPr>
          <p:cNvSpPr/>
          <p:nvPr/>
        </p:nvSpPr>
        <p:spPr>
          <a:xfrm>
            <a:off x="8197526" y="2483255"/>
            <a:ext cx="3605297" cy="2099573"/>
          </a:xfrm>
          <a:prstGeom prst="roundRect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CAF0DAD5-BE31-73F2-1BB9-CAE422823D5A}"/>
              </a:ext>
            </a:extLst>
          </p:cNvPr>
          <p:cNvSpPr/>
          <p:nvPr/>
        </p:nvSpPr>
        <p:spPr>
          <a:xfrm>
            <a:off x="789029" y="2483255"/>
            <a:ext cx="7021151" cy="2099573"/>
          </a:xfrm>
          <a:prstGeom prst="roundRect">
            <a:avLst/>
          </a:prstGeom>
          <a:noFill/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33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9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BA824-60FD-45E1-8470-68376E1BA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0403" y="422684"/>
            <a:ext cx="10515600" cy="132556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Required </a:t>
            </a:r>
            <a:r>
              <a:rPr lang="en-US" sz="2000" dirty="0">
                <a:solidFill>
                  <a:schemeClr val="tx1"/>
                </a:solidFill>
              </a:rPr>
              <a:t>(more schools may be added)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695F8C8-B49A-4A22-90D2-328D8D269439}"/>
              </a:ext>
            </a:extLst>
          </p:cNvPr>
          <p:cNvGrpSpPr/>
          <p:nvPr/>
        </p:nvGrpSpPr>
        <p:grpSpPr>
          <a:xfrm>
            <a:off x="640208" y="212743"/>
            <a:ext cx="2258314" cy="1630326"/>
            <a:chOff x="863842" y="3118655"/>
            <a:chExt cx="1577647" cy="1159298"/>
          </a:xfrm>
        </p:grpSpPr>
        <p:pic>
          <p:nvPicPr>
            <p:cNvPr id="8" name="Graphic 7" descr="Checkbox Checked with solid fill">
              <a:extLst>
                <a:ext uri="{FF2B5EF4-FFF2-40B4-BE49-F238E27FC236}">
                  <a16:creationId xmlns:a16="http://schemas.microsoft.com/office/drawing/2014/main" id="{5359FDDF-74E4-49D6-8B66-894A4E97A2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63842" y="3118655"/>
              <a:ext cx="1141758" cy="1159298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06C70B2-539D-49DA-87FA-8A7050745A15}"/>
                </a:ext>
              </a:extLst>
            </p:cNvPr>
            <p:cNvSpPr/>
            <p:nvPr/>
          </p:nvSpPr>
          <p:spPr>
            <a:xfrm>
              <a:off x="1527089" y="3241104"/>
              <a:ext cx="914400" cy="9144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B011EE38-523D-4E28-B92C-61F4876CED4E}"/>
              </a:ext>
            </a:extLst>
          </p:cNvPr>
          <p:cNvSpPr txBox="1"/>
          <p:nvPr/>
        </p:nvSpPr>
        <p:spPr>
          <a:xfrm>
            <a:off x="871267" y="1916138"/>
            <a:ext cx="9031858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arle Illinois College of Medicine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rcer University School of Medicine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aint Louis University School of Medicine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niversidad Central del Caribe School of Medicine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niversity of California, Davis, School of Medicine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niversity of California, Los Angeles David Geffen School of Medicine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niversity of Hawaii, John A. Burns School of Medicine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niversity of Massachusetts T.H. Chan School of Medicine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niversity of Utah School of Medicine</a:t>
            </a:r>
          </a:p>
        </p:txBody>
      </p:sp>
    </p:spTree>
    <p:extLst>
      <p:ext uri="{BB962C8B-B14F-4D97-AF65-F5344CB8AC3E}">
        <p14:creationId xmlns:p14="http://schemas.microsoft.com/office/powerpoint/2010/main" val="252114978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BA824-60FD-45E1-8470-68376E1BA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0403" y="422684"/>
            <a:ext cx="10515600" cy="1325563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Recommended </a:t>
            </a:r>
            <a:r>
              <a:rPr lang="en-US" sz="2000" dirty="0">
                <a:solidFill>
                  <a:schemeClr val="tx1"/>
                </a:solidFill>
              </a:rPr>
              <a:t>(more schools may be added)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2" name="Graphic 11" descr="Thumbs up sign with solid fill">
            <a:extLst>
              <a:ext uri="{FF2B5EF4-FFF2-40B4-BE49-F238E27FC236}">
                <a16:creationId xmlns:a16="http://schemas.microsoft.com/office/drawing/2014/main" id="{B2BD9E14-EE51-4C60-AAFA-3E3A9B880B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1267" y="339875"/>
            <a:ext cx="1220358" cy="121734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2D1CC5B-30E6-42F9-BFA2-5DD06371EA72}"/>
              </a:ext>
            </a:extLst>
          </p:cNvPr>
          <p:cNvSpPr txBox="1"/>
          <p:nvPr/>
        </p:nvSpPr>
        <p:spPr>
          <a:xfrm>
            <a:off x="871266" y="1640029"/>
            <a:ext cx="9894499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hicago Medical School at Rosalind Franklin University of Medicine &amp; Science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oper Medical School of Rowan University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s Moines University Medicine &amp; Health Sciences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Geisinger Commonwealth School of Medicine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George Washington University School of Medicine and Health Sciences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Louisiana State University School of Medicine in New Orleans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orehouse School of Medicine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Oakland University William Beaumont School of Medicine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outhern Illinois University School of Medicine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niversity of Alabama at Birmingham </a:t>
            </a:r>
            <a:r>
              <a:rPr lang="en-US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arnix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E. </a:t>
            </a:r>
            <a:r>
              <a:rPr lang="en-US" sz="24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eersink</a:t>
            </a: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chool of Medicine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niversity of Louisville School of Medicine</a:t>
            </a:r>
          </a:p>
        </p:txBody>
      </p:sp>
    </p:spTree>
    <p:extLst>
      <p:ext uri="{BB962C8B-B14F-4D97-AF65-F5344CB8AC3E}">
        <p14:creationId xmlns:p14="http://schemas.microsoft.com/office/powerpoint/2010/main" val="362247819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BA824-60FD-45E1-8470-68376E1BA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0403" y="422684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dirty="0">
                <a:solidFill>
                  <a:schemeClr val="tx1"/>
                </a:solidFill>
              </a:rPr>
              <a:t>SJT Required; PREview Exam Satisfies</a:t>
            </a:r>
            <a:br>
              <a:rPr lang="en-US" sz="4000" dirty="0">
                <a:solidFill>
                  <a:schemeClr val="tx1"/>
                </a:solidFill>
              </a:rPr>
            </a:br>
            <a:r>
              <a:rPr lang="en-US" sz="2000" dirty="0">
                <a:solidFill>
                  <a:schemeClr val="tx1"/>
                </a:solidFill>
              </a:rPr>
              <a:t>(more schools may be added)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F93D4CC-2B18-4BCE-BFC1-C98CCC976D4F}"/>
              </a:ext>
            </a:extLst>
          </p:cNvPr>
          <p:cNvGrpSpPr/>
          <p:nvPr/>
        </p:nvGrpSpPr>
        <p:grpSpPr>
          <a:xfrm>
            <a:off x="664860" y="287677"/>
            <a:ext cx="2186808" cy="1352352"/>
            <a:chOff x="5832201" y="3203069"/>
            <a:chExt cx="1527692" cy="961635"/>
          </a:xfrm>
        </p:grpSpPr>
        <p:pic>
          <p:nvPicPr>
            <p:cNvPr id="6" name="Graphic 5" descr="Signpost with solid fill">
              <a:extLst>
                <a:ext uri="{FF2B5EF4-FFF2-40B4-BE49-F238E27FC236}">
                  <a16:creationId xmlns:a16="http://schemas.microsoft.com/office/drawing/2014/main" id="{ED927BEE-FDBE-4F9B-B95B-FF8C214FD62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5832201" y="3250304"/>
              <a:ext cx="914400" cy="914400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4AA6F64-5079-451A-9D03-F3358FFF0A0C}"/>
                </a:ext>
              </a:extLst>
            </p:cNvPr>
            <p:cNvSpPr/>
            <p:nvPr/>
          </p:nvSpPr>
          <p:spPr>
            <a:xfrm>
              <a:off x="6445493" y="3203069"/>
              <a:ext cx="914400" cy="91440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anose="020B050202020202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75671550-A4C5-4E50-878E-6B95FBAE45BC}"/>
              </a:ext>
            </a:extLst>
          </p:cNvPr>
          <p:cNvSpPr txBox="1"/>
          <p:nvPr/>
        </p:nvSpPr>
        <p:spPr>
          <a:xfrm>
            <a:off x="888520" y="2463817"/>
            <a:ext cx="787591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ichigan State University College of Human Medicine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Rutgers, Robert Wood Johnson Medical School</a:t>
            </a:r>
          </a:p>
        </p:txBody>
      </p:sp>
    </p:spTree>
    <p:extLst>
      <p:ext uri="{BB962C8B-B14F-4D97-AF65-F5344CB8AC3E}">
        <p14:creationId xmlns:p14="http://schemas.microsoft.com/office/powerpoint/2010/main" val="40378815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Qr code&#10;&#10;Description automatically generated">
            <a:extLst>
              <a:ext uri="{FF2B5EF4-FFF2-40B4-BE49-F238E27FC236}">
                <a16:creationId xmlns:a16="http://schemas.microsoft.com/office/drawing/2014/main" id="{32DCEC3D-31FD-4C71-8E93-A0847D490DD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801" y="1159934"/>
            <a:ext cx="4286144" cy="428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564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120D962-64E9-4A3D-B0F8-79F7D97D7F32}"/>
              </a:ext>
            </a:extLst>
          </p:cNvPr>
          <p:cNvSpPr txBox="1"/>
          <p:nvPr/>
        </p:nvSpPr>
        <p:spPr>
          <a:xfrm>
            <a:off x="9753600" y="3882887"/>
            <a:ext cx="21601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dirty="0">
                <a:solidFill>
                  <a:schemeClr val="bg1"/>
                </a:solidFill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21569659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39A6B1"/>
                </a:solidFill>
              </a:rPr>
              <a:t>An Introduction to the PREview Exam</a:t>
            </a:r>
          </a:p>
        </p:txBody>
      </p:sp>
      <p:graphicFrame>
        <p:nvGraphicFramePr>
          <p:cNvPr id="10" name="Content Placeholder 3">
            <a:extLst>
              <a:ext uri="{FF2B5EF4-FFF2-40B4-BE49-F238E27FC236}">
                <a16:creationId xmlns:a16="http://schemas.microsoft.com/office/drawing/2014/main" id="{79DDD06F-D7E9-4B49-886B-8577E7DE288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24507857"/>
              </p:ext>
            </p:extLst>
          </p:nvPr>
        </p:nvGraphicFramePr>
        <p:xfrm>
          <a:off x="838200" y="1670350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7372615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D495945D-41C2-4E0F-8AE0-C479BBD24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Understanding the Exam’s Design</a:t>
            </a:r>
          </a:p>
        </p:txBody>
      </p:sp>
    </p:spTree>
    <p:extLst>
      <p:ext uri="{BB962C8B-B14F-4D97-AF65-F5344CB8AC3E}">
        <p14:creationId xmlns:p14="http://schemas.microsoft.com/office/powerpoint/2010/main" val="34540535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BCDEF3-91F7-4690-82D0-2024A1528E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39A6B1"/>
                </a:solidFill>
              </a:rPr>
              <a:t>Know the Competencies Measured on </a:t>
            </a:r>
            <a:br>
              <a:rPr lang="en-US" sz="4000" dirty="0">
                <a:solidFill>
                  <a:srgbClr val="39A6B1"/>
                </a:solidFill>
              </a:rPr>
            </a:br>
            <a:r>
              <a:rPr lang="en-US" sz="4000" dirty="0">
                <a:solidFill>
                  <a:srgbClr val="39A6B1"/>
                </a:solidFill>
              </a:rPr>
              <a:t>the Exam</a:t>
            </a:r>
          </a:p>
        </p:txBody>
      </p:sp>
      <p:sp>
        <p:nvSpPr>
          <p:cNvPr id="32" name="Content Placeholder 31">
            <a:extLst>
              <a:ext uri="{FF2B5EF4-FFF2-40B4-BE49-F238E27FC236}">
                <a16:creationId xmlns:a16="http://schemas.microsoft.com/office/drawing/2014/main" id="{86877284-4F00-4EA2-AE3C-6452E5B165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594338"/>
            <a:ext cx="5517506" cy="4447688"/>
          </a:xfrm>
        </p:spPr>
        <p:txBody>
          <a:bodyPr>
            <a:normAutofit/>
          </a:bodyPr>
          <a:lstStyle/>
          <a:p>
            <a:r>
              <a:rPr lang="en-US" sz="2400" dirty="0"/>
              <a:t>Service Orientation</a:t>
            </a:r>
          </a:p>
          <a:p>
            <a:r>
              <a:rPr lang="en-US" sz="2400" dirty="0"/>
              <a:t>Social Skills</a:t>
            </a:r>
          </a:p>
          <a:p>
            <a:r>
              <a:rPr lang="en-US" sz="2400" dirty="0"/>
              <a:t>Cultural Competence</a:t>
            </a:r>
          </a:p>
          <a:p>
            <a:r>
              <a:rPr lang="en-US" sz="2400" dirty="0"/>
              <a:t>Teamwork</a:t>
            </a:r>
          </a:p>
          <a:p>
            <a:r>
              <a:rPr lang="en-US" sz="2400" dirty="0"/>
              <a:t>Ethical Responsibility to Self and Others</a:t>
            </a:r>
          </a:p>
          <a:p>
            <a:r>
              <a:rPr lang="en-US" sz="2400" dirty="0"/>
              <a:t>Reliability and Dependability</a:t>
            </a:r>
          </a:p>
          <a:p>
            <a:r>
              <a:rPr lang="en-US" sz="2400" dirty="0"/>
              <a:t>Resilience and Adaptability</a:t>
            </a:r>
          </a:p>
          <a:p>
            <a:r>
              <a:rPr lang="en-US" sz="2400" dirty="0"/>
              <a:t>Capacity for Improvement</a:t>
            </a:r>
          </a:p>
        </p:txBody>
      </p:sp>
      <p:pic>
        <p:nvPicPr>
          <p:cNvPr id="33" name="Picture 32" descr="Diagram&#10;&#10;Description automatically generated">
            <a:extLst>
              <a:ext uri="{FF2B5EF4-FFF2-40B4-BE49-F238E27FC236}">
                <a16:creationId xmlns:a16="http://schemas.microsoft.com/office/drawing/2014/main" id="{010EDB99-3300-46D6-8795-201CB09535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68823" y="1287500"/>
            <a:ext cx="4571860" cy="4571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0440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E1FC6F-BB96-4A2D-88F8-B637D6C7FD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rgbClr val="39A6B1"/>
                </a:solidFill>
              </a:rPr>
              <a:t>Understand How the Competencies Are Assessed on the Ex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4A29C6-9561-486B-B4EF-D6084C76BC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4700" y="1572508"/>
            <a:ext cx="10651067" cy="4465290"/>
          </a:xfrm>
        </p:spPr>
        <p:txBody>
          <a:bodyPr/>
          <a:lstStyle/>
          <a:p>
            <a:pPr marL="0" indent="0">
              <a:buNone/>
            </a:pPr>
            <a:r>
              <a:rPr lang="en-US" sz="1800" b="1" dirty="0"/>
              <a:t>Scenario</a:t>
            </a:r>
          </a:p>
          <a:p>
            <a:pPr marL="0" indent="0">
              <a:buNone/>
            </a:pPr>
            <a:r>
              <a:rPr lang="en-US" sz="1800" dirty="0"/>
              <a:t>While viewing a classmate’s social media profile, you notice that your classmate has made negative comments about treating a recent patient. Your classmate describes the patient and the patient’s condition in detail, which violates patient privacy regulations. </a:t>
            </a:r>
          </a:p>
          <a:p>
            <a:pPr marL="0" indent="0">
              <a:buNone/>
            </a:pPr>
            <a:r>
              <a:rPr lang="en-US" sz="1800" i="1" dirty="0"/>
              <a:t>Please rate the effectiveness of each response to this situation.</a:t>
            </a:r>
          </a:p>
          <a:p>
            <a:endParaRPr lang="en-US" sz="1500" dirty="0"/>
          </a:p>
          <a:p>
            <a:endParaRPr lang="en-US" sz="1500" dirty="0"/>
          </a:p>
          <a:p>
            <a:pPr marL="0" indent="0">
              <a:buNone/>
            </a:pPr>
            <a:endParaRPr lang="en-US" sz="1600" b="1" dirty="0"/>
          </a:p>
          <a:p>
            <a:pPr marL="0" indent="0">
              <a:buNone/>
            </a:pPr>
            <a:r>
              <a:rPr lang="en-US" sz="1600" b="1" dirty="0"/>
              <a:t>Responses</a:t>
            </a:r>
          </a:p>
          <a:p>
            <a:pPr marL="641747" lvl="1" indent="-342900">
              <a:buFont typeface="+mj-lt"/>
              <a:buAutoNum type="arabicPeriod"/>
            </a:pPr>
            <a:r>
              <a:rPr lang="en-US" sz="1600" dirty="0"/>
              <a:t>Explain to your classmate the importance of patient privacy and ask them to remove the comments. </a:t>
            </a:r>
          </a:p>
          <a:p>
            <a:pPr marL="641747" lvl="1" indent="-342900">
              <a:buFont typeface="+mj-lt"/>
              <a:buAutoNum type="arabicPeriod"/>
            </a:pPr>
            <a:r>
              <a:rPr lang="en-US" sz="1600" dirty="0"/>
              <a:t>Report your classmate’s behavior as a privacy violation.</a:t>
            </a:r>
          </a:p>
          <a:p>
            <a:pPr marL="641747" lvl="1" indent="-342900">
              <a:buFont typeface="+mj-lt"/>
              <a:buAutoNum type="arabicPeriod"/>
            </a:pPr>
            <a:r>
              <a:rPr lang="en-US" sz="1600" dirty="0"/>
              <a:t>Read through your classmate's previous comments to see how often they comment about patients.</a:t>
            </a:r>
          </a:p>
          <a:p>
            <a:pPr marL="641747" lvl="1" indent="-342900">
              <a:buFont typeface="+mj-lt"/>
              <a:buAutoNum type="arabicPeriod"/>
            </a:pPr>
            <a:r>
              <a:rPr lang="en-US" sz="1600" dirty="0"/>
              <a:t>Avoid reading your classmate’s social media profile in the future.</a:t>
            </a:r>
          </a:p>
          <a:p>
            <a:pPr marL="641747" lvl="1" indent="-342900">
              <a:buFont typeface="+mj-lt"/>
              <a:buAutoNum type="arabicPeriod"/>
            </a:pPr>
            <a:r>
              <a:rPr lang="en-US" sz="1600" dirty="0"/>
              <a:t>Suggest your classmate remove the comments as soon as possible.</a:t>
            </a:r>
          </a:p>
          <a:p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966913B-CA43-42BC-AB21-9EB764EA1E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1681769"/>
              </p:ext>
            </p:extLst>
          </p:nvPr>
        </p:nvGraphicFramePr>
        <p:xfrm>
          <a:off x="2032000" y="3472007"/>
          <a:ext cx="8128000" cy="3708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2842082134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1813010171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4486025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93532283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Very Ineffective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Ineffective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Effective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Very Effective</a:t>
                      </a:r>
                      <a:endParaRPr lang="en-US" sz="18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31598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04644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E1FC6F-BB96-4A2D-88F8-B637D6C7F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581" y="266629"/>
            <a:ext cx="11048999" cy="1325563"/>
          </a:xfrm>
        </p:spPr>
        <p:txBody>
          <a:bodyPr>
            <a:normAutofit/>
          </a:bodyPr>
          <a:lstStyle/>
          <a:p>
            <a:r>
              <a:rPr lang="en-US" sz="4000" dirty="0">
                <a:solidFill>
                  <a:srgbClr val="39A6B1"/>
                </a:solidFill>
              </a:rPr>
              <a:t>Understand How to Evaluate Responses</a:t>
            </a: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2398433F-4283-40C8-AA65-648DFA18D8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8622" y="1292451"/>
            <a:ext cx="10790918" cy="5010026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2600" dirty="0"/>
          </a:p>
          <a:p>
            <a:pPr marL="0" indent="0">
              <a:buClr>
                <a:schemeClr val="bg1"/>
              </a:buClr>
              <a:buNone/>
            </a:pPr>
            <a:r>
              <a:rPr lang="en-US" sz="2600" dirty="0"/>
              <a:t>Each response should be:</a:t>
            </a:r>
          </a:p>
          <a:p>
            <a:pPr marL="741363" lvl="1" indent="-342900">
              <a:lnSpc>
                <a:spcPct val="120000"/>
              </a:lnSpc>
            </a:pPr>
            <a:r>
              <a:rPr lang="en-US" sz="2000" dirty="0"/>
              <a:t>Considered an </a:t>
            </a:r>
            <a:r>
              <a:rPr lang="en-US" sz="2000" b="1" dirty="0"/>
              <a:t>immediate next step </a:t>
            </a:r>
            <a:r>
              <a:rPr lang="en-US" sz="2000" dirty="0"/>
              <a:t>unless otherwise specified</a:t>
            </a:r>
          </a:p>
          <a:p>
            <a:pPr marL="741363" lvl="1" indent="-342900">
              <a:lnSpc>
                <a:spcPct val="120000"/>
              </a:lnSpc>
            </a:pPr>
            <a:r>
              <a:rPr lang="en-US" sz="2000" dirty="0"/>
              <a:t>Rated </a:t>
            </a:r>
            <a:r>
              <a:rPr lang="en-US" sz="2000" b="1" dirty="0"/>
              <a:t>independently</a:t>
            </a:r>
            <a:endParaRPr lang="en-US" sz="2000" dirty="0"/>
          </a:p>
          <a:p>
            <a:pPr marL="1147763" lvl="2" indent="-342900">
              <a:lnSpc>
                <a:spcPct val="120000"/>
              </a:lnSpc>
            </a:pPr>
            <a:r>
              <a:rPr lang="en-US" dirty="0"/>
              <a:t>Do not compare responses to each other</a:t>
            </a:r>
          </a:p>
          <a:p>
            <a:pPr marL="1147763" lvl="2" indent="-342900">
              <a:lnSpc>
                <a:spcPct val="120000"/>
              </a:lnSpc>
            </a:pPr>
            <a:r>
              <a:rPr lang="en-US" dirty="0"/>
              <a:t>Do not rank order responses</a:t>
            </a:r>
          </a:p>
          <a:p>
            <a:pPr marL="1147763" lvl="2" indent="-342900">
              <a:lnSpc>
                <a:spcPct val="120000"/>
              </a:lnSpc>
            </a:pPr>
            <a:r>
              <a:rPr lang="en-US" dirty="0"/>
              <a:t>Do not combine responses when considering your rating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en-US" sz="2600" dirty="0"/>
              <a:t>Each rating can be used more than once or not at all</a:t>
            </a:r>
          </a:p>
          <a:p>
            <a:pPr marL="0" indent="-109537">
              <a:lnSpc>
                <a:spcPct val="120000"/>
              </a:lnSpc>
              <a:buNone/>
            </a:pPr>
            <a:r>
              <a:rPr lang="en-US" sz="2600" dirty="0"/>
              <a:t>Each scenario includes a </a:t>
            </a:r>
            <a:r>
              <a:rPr lang="en-US" sz="2600" u="sng" dirty="0"/>
              <a:t>sample</a:t>
            </a:r>
            <a:r>
              <a:rPr lang="en-US" sz="2600" dirty="0"/>
              <a:t> of possible responses</a:t>
            </a:r>
          </a:p>
        </p:txBody>
      </p:sp>
    </p:spTree>
    <p:extLst>
      <p:ext uri="{BB962C8B-B14F-4D97-AF65-F5344CB8AC3E}">
        <p14:creationId xmlns:p14="http://schemas.microsoft.com/office/powerpoint/2010/main" val="1574124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D495945D-41C2-4E0F-8AE0-C479BBD248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Preparing for the Exam</a:t>
            </a:r>
          </a:p>
        </p:txBody>
      </p:sp>
    </p:spTree>
    <p:extLst>
      <p:ext uri="{BB962C8B-B14F-4D97-AF65-F5344CB8AC3E}">
        <p14:creationId xmlns:p14="http://schemas.microsoft.com/office/powerpoint/2010/main" val="8251355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504B63-E691-4CF6-9F62-437FFEF4A2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Examinee Preparation Gu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E64CA-F3A9-4D42-9C38-52FF67730D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50904" y="1919410"/>
            <a:ext cx="5511452" cy="4061608"/>
          </a:xfrm>
        </p:spPr>
        <p:txBody>
          <a:bodyPr/>
          <a:lstStyle/>
          <a:p>
            <a:pPr marL="0" indent="0">
              <a:buClr>
                <a:schemeClr val="bg1"/>
              </a:buClr>
              <a:buNone/>
            </a:pPr>
            <a:r>
              <a:rPr lang="en-US" dirty="0"/>
              <a:t>Provides preparation advice and strategies for completing the PREview exam</a:t>
            </a:r>
          </a:p>
          <a:p>
            <a:pPr marL="0" indent="0">
              <a:buClr>
                <a:schemeClr val="bg1"/>
              </a:buClr>
              <a:buNone/>
            </a:pPr>
            <a:endParaRPr lang="en-US" dirty="0"/>
          </a:p>
          <a:p>
            <a:pPr marL="641747" lvl="1" indent="-34290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dirty="0"/>
              <a:t>Overview of test format</a:t>
            </a:r>
          </a:p>
          <a:p>
            <a:pPr marL="641747" lvl="1" indent="-34290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dirty="0"/>
              <a:t>Instructions for examinees</a:t>
            </a:r>
          </a:p>
          <a:p>
            <a:pPr marL="641747" lvl="1" indent="-342900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dirty="0"/>
              <a:t>Guidance on how to evaluate respons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38249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Icons_in_boxes_4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322</TotalTime>
  <Words>907</Words>
  <Application>Microsoft Office PowerPoint</Application>
  <PresentationFormat>Widescreen</PresentationFormat>
  <Paragraphs>188</Paragraphs>
  <Slides>28</Slides>
  <Notes>28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6" baseType="lpstr">
      <vt:lpstr>Arial</vt:lpstr>
      <vt:lpstr>Calibri</vt:lpstr>
      <vt:lpstr>Calibri Light</vt:lpstr>
      <vt:lpstr>Century Gothic</vt:lpstr>
      <vt:lpstr>Helvetica Neue</vt:lpstr>
      <vt:lpstr>Roboto</vt:lpstr>
      <vt:lpstr>robotoregular</vt:lpstr>
      <vt:lpstr>Office Theme</vt:lpstr>
      <vt:lpstr>Ready, Set, Test:  Tips on Preparing for the AAMC PREviewTM Exam</vt:lpstr>
      <vt:lpstr>What We’ll Cover</vt:lpstr>
      <vt:lpstr>An Introduction to the PREview Exam</vt:lpstr>
      <vt:lpstr>Understanding the Exam’s Design</vt:lpstr>
      <vt:lpstr>Know the Competencies Measured on  the Exam</vt:lpstr>
      <vt:lpstr>Understand How the Competencies Are Assessed on the Exam</vt:lpstr>
      <vt:lpstr>Understand How to Evaluate Responses</vt:lpstr>
      <vt:lpstr>Preparing for the Exam</vt:lpstr>
      <vt:lpstr>Examinee Preparation Guide</vt:lpstr>
      <vt:lpstr>Read the Full Definitions of the Core Competencies</vt:lpstr>
      <vt:lpstr>Practice with the Free AAMC PREview™ Exam Practice Exam Booklet</vt:lpstr>
      <vt:lpstr>PowerPoint Presentation</vt:lpstr>
      <vt:lpstr>PowerPoint Presentation</vt:lpstr>
      <vt:lpstr>Preparing for Test Day</vt:lpstr>
      <vt:lpstr>Get Ready to Test</vt:lpstr>
      <vt:lpstr>Confirm You Meet the Basic Requirements</vt:lpstr>
      <vt:lpstr>Access the PREview Portal </vt:lpstr>
      <vt:lpstr>Test Your Equipment</vt:lpstr>
      <vt:lpstr>Become Familiar with the Testing Platform</vt:lpstr>
      <vt:lpstr>Become Familiar with Remote Proctoring</vt:lpstr>
      <vt:lpstr>Accessing Available Resources</vt:lpstr>
      <vt:lpstr>Access Free AAMC Preparation Resources</vt:lpstr>
      <vt:lpstr>&gt;80% of Applicants Will be Asked to take the Exam</vt:lpstr>
      <vt:lpstr>Required (more schools may be added)</vt:lpstr>
      <vt:lpstr>Recommended (more schools may be added)</vt:lpstr>
      <vt:lpstr>SJT Required; PREview Exam Satisfies (more schools may be added)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k Mavilia</dc:creator>
  <cp:lastModifiedBy>Jena Wimsatt</cp:lastModifiedBy>
  <cp:revision>82</cp:revision>
  <dcterms:created xsi:type="dcterms:W3CDTF">2022-01-19T14:15:09Z</dcterms:created>
  <dcterms:modified xsi:type="dcterms:W3CDTF">2023-04-20T17:59:16Z</dcterms:modified>
</cp:coreProperties>
</file>